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19"/>
  </p:notesMasterIdLst>
  <p:handoutMasterIdLst>
    <p:handoutMasterId r:id="rId20"/>
  </p:handoutMasterIdLst>
  <p:sldIdLst>
    <p:sldId id="256" r:id="rId2"/>
    <p:sldId id="274" r:id="rId3"/>
    <p:sldId id="275" r:id="rId4"/>
    <p:sldId id="276" r:id="rId5"/>
    <p:sldId id="277" r:id="rId6"/>
    <p:sldId id="296" r:id="rId7"/>
    <p:sldId id="286" r:id="rId8"/>
    <p:sldId id="299" r:id="rId9"/>
    <p:sldId id="284" r:id="rId10"/>
    <p:sldId id="300" r:id="rId11"/>
    <p:sldId id="287" r:id="rId12"/>
    <p:sldId id="297" r:id="rId13"/>
    <p:sldId id="304" r:id="rId14"/>
    <p:sldId id="290" r:id="rId15"/>
    <p:sldId id="301" r:id="rId16"/>
    <p:sldId id="303" r:id="rId17"/>
    <p:sldId id="298" r:id="rId18"/>
  </p:sldIdLst>
  <p:sldSz cx="12192000" cy="6858000"/>
  <p:notesSz cx="6858000" cy="9144000"/>
  <p:embeddedFontLst>
    <p:embeddedFont>
      <p:font typeface="字魂59号-创粗黑" panose="02010600030101010101" charset="-122"/>
      <p:regular r:id="rId21"/>
    </p:embeddedFont>
    <p:embeddedFont>
      <p:font typeface="等线" panose="02010600030101010101" pitchFamily="2" charset="-122"/>
      <p:regular r:id="rId22"/>
      <p:bold r:id="rId23"/>
    </p:embeddedFont>
    <p:embeddedFont>
      <p:font typeface="黑体" panose="02010609060101010101" pitchFamily="49" charset="-122"/>
      <p:regular r:id="rId24"/>
    </p:embeddedFont>
  </p:embeddedFontLst>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9A9F"/>
    <a:srgbClr val="E4222E"/>
    <a:srgbClr val="D9250F"/>
    <a:srgbClr val="E22D36"/>
    <a:srgbClr val="598AA8"/>
    <a:srgbClr val="0070C0"/>
    <a:srgbClr val="00B0F0"/>
    <a:srgbClr val="0F1314"/>
    <a:srgbClr val="5A8FAF"/>
    <a:srgbClr val="5A8E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260" y="-30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1.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4/6/28</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41082248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10</a:t>
            </a:fld>
            <a:endParaRPr lang="zh-CN" altLang="en-US"/>
          </a:p>
        </p:txBody>
      </p:sp>
    </p:spTree>
    <p:extLst>
      <p:ext uri="{BB962C8B-B14F-4D97-AF65-F5344CB8AC3E}">
        <p14:creationId xmlns:p14="http://schemas.microsoft.com/office/powerpoint/2010/main" val="4229895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D5DCC4-515E-4EA3-9042-FAD279E06BF8}" type="slidenum">
              <a:rPr lang="zh-CN" altLang="en-US" smtClean="0"/>
              <a:t>11</a:t>
            </a:fld>
            <a:endParaRPr lang="zh-CN" altLang="en-US"/>
          </a:p>
        </p:txBody>
      </p:sp>
    </p:spTree>
    <p:extLst>
      <p:ext uri="{BB962C8B-B14F-4D97-AF65-F5344CB8AC3E}">
        <p14:creationId xmlns:p14="http://schemas.microsoft.com/office/powerpoint/2010/main" val="13646353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835EB70-5EA3-47CF-BB25-2E5AD582C2BC}" type="slidenum">
              <a:rPr lang="zh-CN" altLang="en-US" smtClean="0"/>
              <a:t>12</a:t>
            </a:fld>
            <a:endParaRPr lang="zh-CN" altLang="en-US"/>
          </a:p>
        </p:txBody>
      </p:sp>
    </p:spTree>
    <p:extLst>
      <p:ext uri="{BB962C8B-B14F-4D97-AF65-F5344CB8AC3E}">
        <p14:creationId xmlns:p14="http://schemas.microsoft.com/office/powerpoint/2010/main" val="496981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D5DCC4-515E-4EA3-9042-FAD279E06BF8}" type="slidenum">
              <a:rPr lang="zh-CN" altLang="en-US" smtClean="0"/>
              <a:t>13</a:t>
            </a:fld>
            <a:endParaRPr lang="zh-CN" altLang="en-US"/>
          </a:p>
        </p:txBody>
      </p:sp>
    </p:spTree>
    <p:extLst>
      <p:ext uri="{BB962C8B-B14F-4D97-AF65-F5344CB8AC3E}">
        <p14:creationId xmlns:p14="http://schemas.microsoft.com/office/powerpoint/2010/main" val="3173475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D5DCC4-515E-4EA3-9042-FAD279E06BF8}" type="slidenum">
              <a:rPr lang="zh-CN" altLang="en-US" smtClean="0"/>
              <a:t>14</a:t>
            </a:fld>
            <a:endParaRPr lang="zh-CN" altLang="en-US"/>
          </a:p>
        </p:txBody>
      </p:sp>
    </p:spTree>
    <p:extLst>
      <p:ext uri="{BB962C8B-B14F-4D97-AF65-F5344CB8AC3E}">
        <p14:creationId xmlns:p14="http://schemas.microsoft.com/office/powerpoint/2010/main" val="2577160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835EB70-5EA3-47CF-BB25-2E5AD582C2BC}" type="slidenum">
              <a:rPr lang="zh-CN" altLang="en-US" smtClean="0"/>
              <a:t>15</a:t>
            </a:fld>
            <a:endParaRPr lang="zh-CN" altLang="en-US"/>
          </a:p>
        </p:txBody>
      </p:sp>
    </p:spTree>
    <p:extLst>
      <p:ext uri="{BB962C8B-B14F-4D97-AF65-F5344CB8AC3E}">
        <p14:creationId xmlns:p14="http://schemas.microsoft.com/office/powerpoint/2010/main" val="4099009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D5DCC4-515E-4EA3-9042-FAD279E06BF8}" type="slidenum">
              <a:rPr lang="zh-CN" altLang="en-US" smtClean="0"/>
              <a:t>16</a:t>
            </a:fld>
            <a:endParaRPr lang="zh-CN" altLang="en-US"/>
          </a:p>
        </p:txBody>
      </p:sp>
    </p:spTree>
    <p:extLst>
      <p:ext uri="{BB962C8B-B14F-4D97-AF65-F5344CB8AC3E}">
        <p14:creationId xmlns:p14="http://schemas.microsoft.com/office/powerpoint/2010/main" val="850798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301050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835EB70-5EA3-47CF-BB25-2E5AD582C2BC}" type="slidenum">
              <a:rPr lang="zh-CN" altLang="en-US" smtClean="0"/>
              <a:t>2</a:t>
            </a:fld>
            <a:endParaRPr lang="zh-CN" altLang="en-US"/>
          </a:p>
        </p:txBody>
      </p:sp>
    </p:spTree>
    <p:extLst>
      <p:ext uri="{BB962C8B-B14F-4D97-AF65-F5344CB8AC3E}">
        <p14:creationId xmlns:p14="http://schemas.microsoft.com/office/powerpoint/2010/main" val="3617769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835EB70-5EA3-47CF-BB25-2E5AD582C2BC}" type="slidenum">
              <a:rPr lang="zh-CN" altLang="en-US" smtClean="0"/>
              <a:t>3</a:t>
            </a:fld>
            <a:endParaRPr lang="zh-CN" altLang="en-US"/>
          </a:p>
        </p:txBody>
      </p:sp>
    </p:spTree>
    <p:extLst>
      <p:ext uri="{BB962C8B-B14F-4D97-AF65-F5344CB8AC3E}">
        <p14:creationId xmlns:p14="http://schemas.microsoft.com/office/powerpoint/2010/main" val="975158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4</a:t>
            </a:fld>
            <a:endParaRPr lang="zh-CN" altLang="en-US"/>
          </a:p>
        </p:txBody>
      </p:sp>
    </p:spTree>
    <p:extLst>
      <p:ext uri="{BB962C8B-B14F-4D97-AF65-F5344CB8AC3E}">
        <p14:creationId xmlns:p14="http://schemas.microsoft.com/office/powerpoint/2010/main" val="2804290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5</a:t>
            </a:fld>
            <a:endParaRPr lang="zh-CN" altLang="en-US"/>
          </a:p>
        </p:txBody>
      </p:sp>
    </p:spTree>
    <p:extLst>
      <p:ext uri="{BB962C8B-B14F-4D97-AF65-F5344CB8AC3E}">
        <p14:creationId xmlns:p14="http://schemas.microsoft.com/office/powerpoint/2010/main" val="1068451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835EB70-5EA3-47CF-BB25-2E5AD582C2BC}" type="slidenum">
              <a:rPr lang="zh-CN" altLang="en-US" smtClean="0"/>
              <a:t>6</a:t>
            </a:fld>
            <a:endParaRPr lang="zh-CN" altLang="en-US"/>
          </a:p>
        </p:txBody>
      </p:sp>
    </p:spTree>
    <p:extLst>
      <p:ext uri="{BB962C8B-B14F-4D97-AF65-F5344CB8AC3E}">
        <p14:creationId xmlns:p14="http://schemas.microsoft.com/office/powerpoint/2010/main" val="596184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D5DCC4-515E-4EA3-9042-FAD279E06BF8}" type="slidenum">
              <a:rPr lang="zh-CN" altLang="en-US" smtClean="0"/>
              <a:t>7</a:t>
            </a:fld>
            <a:endParaRPr lang="zh-CN" altLang="en-US"/>
          </a:p>
        </p:txBody>
      </p:sp>
    </p:spTree>
    <p:extLst>
      <p:ext uri="{BB962C8B-B14F-4D97-AF65-F5344CB8AC3E}">
        <p14:creationId xmlns:p14="http://schemas.microsoft.com/office/powerpoint/2010/main" val="8447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D5DCC4-515E-4EA3-9042-FAD279E06BF8}" type="slidenum">
              <a:rPr lang="zh-CN" altLang="en-US" smtClean="0"/>
              <a:t>8</a:t>
            </a:fld>
            <a:endParaRPr lang="zh-CN" altLang="en-US"/>
          </a:p>
        </p:txBody>
      </p:sp>
    </p:spTree>
    <p:extLst>
      <p:ext uri="{BB962C8B-B14F-4D97-AF65-F5344CB8AC3E}">
        <p14:creationId xmlns:p14="http://schemas.microsoft.com/office/powerpoint/2010/main" val="73937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9</a:t>
            </a:fld>
            <a:endParaRPr lang="zh-CN" altLang="en-US"/>
          </a:p>
        </p:txBody>
      </p:sp>
    </p:spTree>
    <p:extLst>
      <p:ext uri="{BB962C8B-B14F-4D97-AF65-F5344CB8AC3E}">
        <p14:creationId xmlns:p14="http://schemas.microsoft.com/office/powerpoint/2010/main" val="41469935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9863" name="任意多边形: 形状 9862">
            <a:extLst>
              <a:ext uri="{FF2B5EF4-FFF2-40B4-BE49-F238E27FC236}">
                <a16:creationId xmlns:a16="http://schemas.microsoft.com/office/drawing/2014/main" id="{5CB98938-7243-4200-A832-55ED3ACBE1E8}"/>
              </a:ext>
            </a:extLst>
          </p:cNvPr>
          <p:cNvSpPr/>
          <p:nvPr userDrawn="1"/>
        </p:nvSpPr>
        <p:spPr>
          <a:xfrm>
            <a:off x="4927600" y="5031"/>
            <a:ext cx="7264400" cy="6852969"/>
          </a:xfrm>
          <a:custGeom>
            <a:avLst/>
            <a:gdLst>
              <a:gd name="connsiteX0" fmla="*/ 2667953 w 3724275"/>
              <a:gd name="connsiteY0" fmla="*/ 221933 h 4762500"/>
              <a:gd name="connsiteX1" fmla="*/ 2223135 w 3724275"/>
              <a:gd name="connsiteY1" fmla="*/ 973455 h 4762500"/>
              <a:gd name="connsiteX2" fmla="*/ 1356360 w 3724275"/>
              <a:gd name="connsiteY2" fmla="*/ 1298258 h 4762500"/>
              <a:gd name="connsiteX3" fmla="*/ 667703 w 3724275"/>
              <a:gd name="connsiteY3" fmla="*/ 1876425 h 4762500"/>
              <a:gd name="connsiteX4" fmla="*/ 751523 w 3724275"/>
              <a:gd name="connsiteY4" fmla="*/ 3155633 h 4762500"/>
              <a:gd name="connsiteX5" fmla="*/ 140970 w 3724275"/>
              <a:gd name="connsiteY5" fmla="*/ 4468178 h 4762500"/>
              <a:gd name="connsiteX6" fmla="*/ 0 w 3724275"/>
              <a:gd name="connsiteY6" fmla="*/ 4762500 h 4762500"/>
              <a:gd name="connsiteX7" fmla="*/ 3728085 w 3724275"/>
              <a:gd name="connsiteY7" fmla="*/ 4762500 h 4762500"/>
              <a:gd name="connsiteX8" fmla="*/ 3728085 w 3724275"/>
              <a:gd name="connsiteY8" fmla="*/ 0 h 4762500"/>
              <a:gd name="connsiteX9" fmla="*/ 2589848 w 3724275"/>
              <a:gd name="connsiteY9" fmla="*/ 0 h 4762500"/>
              <a:gd name="connsiteX10" fmla="*/ 2667953 w 3724275"/>
              <a:gd name="connsiteY10" fmla="*/ 221933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4275" h="4762500">
                <a:moveTo>
                  <a:pt x="2667953" y="221933"/>
                </a:moveTo>
                <a:cubicBezTo>
                  <a:pt x="2712720" y="527685"/>
                  <a:pt x="2489835" y="817245"/>
                  <a:pt x="2223135" y="973455"/>
                </a:cubicBezTo>
                <a:cubicBezTo>
                  <a:pt x="1956435" y="1129665"/>
                  <a:pt x="1645920" y="1189673"/>
                  <a:pt x="1356360" y="1298258"/>
                </a:cubicBezTo>
                <a:cubicBezTo>
                  <a:pt x="1066800" y="1406843"/>
                  <a:pt x="776288" y="1586865"/>
                  <a:pt x="667703" y="1876425"/>
                </a:cubicBezTo>
                <a:cubicBezTo>
                  <a:pt x="515303" y="2281238"/>
                  <a:pt x="765810" y="2724150"/>
                  <a:pt x="751523" y="3155633"/>
                </a:cubicBezTo>
                <a:cubicBezTo>
                  <a:pt x="734378" y="3644265"/>
                  <a:pt x="386715" y="4046220"/>
                  <a:pt x="140970" y="4468178"/>
                </a:cubicBezTo>
                <a:cubicBezTo>
                  <a:pt x="86678" y="4559618"/>
                  <a:pt x="39053" y="4658678"/>
                  <a:pt x="0" y="4762500"/>
                </a:cubicBezTo>
                <a:lnTo>
                  <a:pt x="3728085" y="4762500"/>
                </a:lnTo>
                <a:lnTo>
                  <a:pt x="3728085" y="0"/>
                </a:lnTo>
                <a:lnTo>
                  <a:pt x="2589848" y="0"/>
                </a:lnTo>
                <a:cubicBezTo>
                  <a:pt x="2627948" y="69533"/>
                  <a:pt x="2655570" y="142875"/>
                  <a:pt x="2667953" y="221933"/>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w="9525" cap="flat">
            <a:noFill/>
            <a:prstDash val="solid"/>
            <a:miter/>
          </a:ln>
        </p:spPr>
        <p:txBody>
          <a:bodyPr rtlCol="0" anchor="ctr"/>
          <a:lstStyle/>
          <a:p>
            <a:endParaRPr lang="zh-CN" altLang="en-US"/>
          </a:p>
        </p:txBody>
      </p:sp>
      <p:sp>
        <p:nvSpPr>
          <p:cNvPr id="9868" name="任意多边形: 形状 9867">
            <a:extLst>
              <a:ext uri="{FF2B5EF4-FFF2-40B4-BE49-F238E27FC236}">
                <a16:creationId xmlns:a16="http://schemas.microsoft.com/office/drawing/2014/main" id="{C164771D-CC42-4C5B-85E0-04F382CE1EEE}"/>
              </a:ext>
            </a:extLst>
          </p:cNvPr>
          <p:cNvSpPr/>
          <p:nvPr/>
        </p:nvSpPr>
        <p:spPr>
          <a:xfrm>
            <a:off x="4927600" y="1032976"/>
            <a:ext cx="4904863" cy="5825024"/>
          </a:xfrm>
          <a:custGeom>
            <a:avLst/>
            <a:gdLst>
              <a:gd name="connsiteX0" fmla="*/ 578168 w 2514600"/>
              <a:gd name="connsiteY0" fmla="*/ 3919538 h 4048125"/>
              <a:gd name="connsiteX1" fmla="*/ 1050608 w 2514600"/>
              <a:gd name="connsiteY1" fmla="*/ 2551748 h 4048125"/>
              <a:gd name="connsiteX2" fmla="*/ 836295 w 2514600"/>
              <a:gd name="connsiteY2" fmla="*/ 1287780 h 4048125"/>
              <a:gd name="connsiteX3" fmla="*/ 1462088 w 2514600"/>
              <a:gd name="connsiteY3" fmla="*/ 641985 h 4048125"/>
              <a:gd name="connsiteX4" fmla="*/ 2290763 w 2514600"/>
              <a:gd name="connsiteY4" fmla="*/ 229552 h 4048125"/>
              <a:gd name="connsiteX5" fmla="*/ 2520315 w 2514600"/>
              <a:gd name="connsiteY5" fmla="*/ 0 h 4048125"/>
              <a:gd name="connsiteX6" fmla="*/ 2223135 w 2514600"/>
              <a:gd name="connsiteY6" fmla="*/ 259080 h 4048125"/>
              <a:gd name="connsiteX7" fmla="*/ 1356360 w 2514600"/>
              <a:gd name="connsiteY7" fmla="*/ 583883 h 4048125"/>
              <a:gd name="connsiteX8" fmla="*/ 667703 w 2514600"/>
              <a:gd name="connsiteY8" fmla="*/ 1162050 h 4048125"/>
              <a:gd name="connsiteX9" fmla="*/ 751523 w 2514600"/>
              <a:gd name="connsiteY9" fmla="*/ 2441258 h 4048125"/>
              <a:gd name="connsiteX10" fmla="*/ 140970 w 2514600"/>
              <a:gd name="connsiteY10" fmla="*/ 3753803 h 4048125"/>
              <a:gd name="connsiteX11" fmla="*/ 0 w 2514600"/>
              <a:gd name="connsiteY11" fmla="*/ 4048125 h 4048125"/>
              <a:gd name="connsiteX12" fmla="*/ 525780 w 2514600"/>
              <a:gd name="connsiteY12" fmla="*/ 4048125 h 4048125"/>
              <a:gd name="connsiteX13" fmla="*/ 578168 w 2514600"/>
              <a:gd name="connsiteY13" fmla="*/ 3919538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4600" h="4048125">
                <a:moveTo>
                  <a:pt x="578168" y="3919538"/>
                </a:moveTo>
                <a:cubicBezTo>
                  <a:pt x="780098" y="3474720"/>
                  <a:pt x="1083945" y="3038475"/>
                  <a:pt x="1050608" y="2551748"/>
                </a:cubicBezTo>
                <a:cubicBezTo>
                  <a:pt x="1021080" y="2120265"/>
                  <a:pt x="725805" y="1705928"/>
                  <a:pt x="836295" y="1287780"/>
                </a:cubicBezTo>
                <a:cubicBezTo>
                  <a:pt x="915353" y="988695"/>
                  <a:pt x="1184910" y="780097"/>
                  <a:pt x="1462088" y="641985"/>
                </a:cubicBezTo>
                <a:cubicBezTo>
                  <a:pt x="1738313" y="503873"/>
                  <a:pt x="2041208" y="411480"/>
                  <a:pt x="2290763" y="229552"/>
                </a:cubicBezTo>
                <a:cubicBezTo>
                  <a:pt x="2377440" y="166688"/>
                  <a:pt x="2456498" y="87630"/>
                  <a:pt x="2520315" y="0"/>
                </a:cubicBezTo>
                <a:cubicBezTo>
                  <a:pt x="2440305" y="103823"/>
                  <a:pt x="2335530" y="193358"/>
                  <a:pt x="2223135" y="259080"/>
                </a:cubicBezTo>
                <a:cubicBezTo>
                  <a:pt x="1956435" y="415290"/>
                  <a:pt x="1645920" y="475298"/>
                  <a:pt x="1356360" y="583883"/>
                </a:cubicBezTo>
                <a:cubicBezTo>
                  <a:pt x="1066800" y="692468"/>
                  <a:pt x="776288" y="872490"/>
                  <a:pt x="667703" y="1162050"/>
                </a:cubicBezTo>
                <a:cubicBezTo>
                  <a:pt x="515303" y="1566863"/>
                  <a:pt x="765810" y="2009775"/>
                  <a:pt x="751523" y="2441258"/>
                </a:cubicBezTo>
                <a:cubicBezTo>
                  <a:pt x="734378" y="2929890"/>
                  <a:pt x="386715" y="3331845"/>
                  <a:pt x="140970" y="3753803"/>
                </a:cubicBezTo>
                <a:cubicBezTo>
                  <a:pt x="86678" y="3845243"/>
                  <a:pt x="39053" y="3944303"/>
                  <a:pt x="0" y="4048125"/>
                </a:cubicBezTo>
                <a:lnTo>
                  <a:pt x="525780" y="4048125"/>
                </a:lnTo>
                <a:cubicBezTo>
                  <a:pt x="541973" y="4004310"/>
                  <a:pt x="559118" y="3961448"/>
                  <a:pt x="578168" y="3919538"/>
                </a:cubicBezTo>
                <a:close/>
              </a:path>
            </a:pathLst>
          </a:custGeom>
          <a:solidFill>
            <a:srgbClr val="F39A9F"/>
          </a:solidFill>
          <a:ln w="9525" cap="flat">
            <a:noFill/>
            <a:prstDash val="solid"/>
            <a:miter/>
          </a:ln>
        </p:spPr>
        <p:txBody>
          <a:bodyPr rtlCol="0" anchor="ctr"/>
          <a:lstStyle/>
          <a:p>
            <a:endParaRPr lang="zh-CN" altLang="en-US"/>
          </a:p>
        </p:txBody>
      </p:sp>
      <p:sp>
        <p:nvSpPr>
          <p:cNvPr id="9869" name="任意多边形: 形状 9868">
            <a:extLst>
              <a:ext uri="{FF2B5EF4-FFF2-40B4-BE49-F238E27FC236}">
                <a16:creationId xmlns:a16="http://schemas.microsoft.com/office/drawing/2014/main" id="{8851E55E-0D98-469F-920D-E29783961D6A}"/>
              </a:ext>
            </a:extLst>
          </p:cNvPr>
          <p:cNvSpPr/>
          <p:nvPr/>
        </p:nvSpPr>
        <p:spPr>
          <a:xfrm>
            <a:off x="5691197" y="1032976"/>
            <a:ext cx="4143123" cy="5825024"/>
          </a:xfrm>
          <a:custGeom>
            <a:avLst/>
            <a:gdLst>
              <a:gd name="connsiteX0" fmla="*/ 1830705 w 2124075"/>
              <a:gd name="connsiteY0" fmla="*/ 259080 h 4048125"/>
              <a:gd name="connsiteX1" fmla="*/ 1350645 w 2124075"/>
              <a:gd name="connsiteY1" fmla="*/ 457200 h 4048125"/>
              <a:gd name="connsiteX2" fmla="*/ 936307 w 2124075"/>
              <a:gd name="connsiteY2" fmla="*/ 641985 h 4048125"/>
              <a:gd name="connsiteX3" fmla="*/ 310515 w 2124075"/>
              <a:gd name="connsiteY3" fmla="*/ 1287780 h 4048125"/>
              <a:gd name="connsiteX4" fmla="*/ 524828 w 2124075"/>
              <a:gd name="connsiteY4" fmla="*/ 2551748 h 4048125"/>
              <a:gd name="connsiteX5" fmla="*/ 52388 w 2124075"/>
              <a:gd name="connsiteY5" fmla="*/ 3919538 h 4048125"/>
              <a:gd name="connsiteX6" fmla="*/ 0 w 2124075"/>
              <a:gd name="connsiteY6" fmla="*/ 4048125 h 4048125"/>
              <a:gd name="connsiteX7" fmla="*/ 133350 w 2124075"/>
              <a:gd name="connsiteY7" fmla="*/ 4048125 h 4048125"/>
              <a:gd name="connsiteX8" fmla="*/ 185738 w 2124075"/>
              <a:gd name="connsiteY8" fmla="*/ 3919538 h 4048125"/>
              <a:gd name="connsiteX9" fmla="*/ 658178 w 2124075"/>
              <a:gd name="connsiteY9" fmla="*/ 2551748 h 4048125"/>
              <a:gd name="connsiteX10" fmla="*/ 443865 w 2124075"/>
              <a:gd name="connsiteY10" fmla="*/ 1287780 h 4048125"/>
              <a:gd name="connsiteX11" fmla="*/ 1069658 w 2124075"/>
              <a:gd name="connsiteY11" fmla="*/ 641985 h 4048125"/>
              <a:gd name="connsiteX12" fmla="*/ 1898333 w 2124075"/>
              <a:gd name="connsiteY12" fmla="*/ 229552 h 4048125"/>
              <a:gd name="connsiteX13" fmla="*/ 2127885 w 2124075"/>
              <a:gd name="connsiteY13" fmla="*/ 0 h 4048125"/>
              <a:gd name="connsiteX14" fmla="*/ 1830705 w 2124075"/>
              <a:gd name="connsiteY14" fmla="*/ 25908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4075" h="4048125">
                <a:moveTo>
                  <a:pt x="1830705" y="259080"/>
                </a:moveTo>
                <a:cubicBezTo>
                  <a:pt x="1680210" y="346710"/>
                  <a:pt x="1516380" y="403860"/>
                  <a:pt x="1350645" y="457200"/>
                </a:cubicBezTo>
                <a:cubicBezTo>
                  <a:pt x="1212533" y="518160"/>
                  <a:pt x="1071563" y="575310"/>
                  <a:pt x="936307" y="641985"/>
                </a:cubicBezTo>
                <a:cubicBezTo>
                  <a:pt x="660083" y="780097"/>
                  <a:pt x="389573" y="988695"/>
                  <a:pt x="310515" y="1287780"/>
                </a:cubicBezTo>
                <a:cubicBezTo>
                  <a:pt x="200025" y="1705928"/>
                  <a:pt x="496253" y="2120265"/>
                  <a:pt x="524828" y="2551748"/>
                </a:cubicBezTo>
                <a:cubicBezTo>
                  <a:pt x="558165" y="3039428"/>
                  <a:pt x="254318" y="3474720"/>
                  <a:pt x="52388" y="3919538"/>
                </a:cubicBezTo>
                <a:cubicBezTo>
                  <a:pt x="33338" y="3960495"/>
                  <a:pt x="16193" y="4004310"/>
                  <a:pt x="0" y="4048125"/>
                </a:cubicBezTo>
                <a:lnTo>
                  <a:pt x="133350" y="4048125"/>
                </a:lnTo>
                <a:cubicBezTo>
                  <a:pt x="149543" y="4004310"/>
                  <a:pt x="166688" y="3961448"/>
                  <a:pt x="185738" y="3919538"/>
                </a:cubicBezTo>
                <a:cubicBezTo>
                  <a:pt x="387668" y="3474720"/>
                  <a:pt x="691515" y="3038475"/>
                  <a:pt x="658178" y="2551748"/>
                </a:cubicBezTo>
                <a:cubicBezTo>
                  <a:pt x="628650" y="2120265"/>
                  <a:pt x="333375" y="1705928"/>
                  <a:pt x="443865" y="1287780"/>
                </a:cubicBezTo>
                <a:cubicBezTo>
                  <a:pt x="522923" y="988695"/>
                  <a:pt x="792480" y="780097"/>
                  <a:pt x="1069658" y="641985"/>
                </a:cubicBezTo>
                <a:cubicBezTo>
                  <a:pt x="1345883" y="503873"/>
                  <a:pt x="1648778" y="411480"/>
                  <a:pt x="1898333" y="229552"/>
                </a:cubicBezTo>
                <a:cubicBezTo>
                  <a:pt x="1985010" y="166688"/>
                  <a:pt x="2064067" y="87630"/>
                  <a:pt x="2127885" y="0"/>
                </a:cubicBezTo>
                <a:cubicBezTo>
                  <a:pt x="2047875" y="103823"/>
                  <a:pt x="1943100" y="193358"/>
                  <a:pt x="1830705" y="259080"/>
                </a:cubicBezTo>
                <a:close/>
              </a:path>
            </a:pathLst>
          </a:custGeom>
          <a:solidFill>
            <a:srgbClr val="E4222E"/>
          </a:solidFill>
          <a:ln w="9525" cap="flat">
            <a:noFill/>
            <a:prstDash val="solid"/>
            <a:miter/>
          </a:ln>
        </p:spPr>
        <p:txBody>
          <a:bodyPr rtlCol="0" anchor="ctr"/>
          <a:lstStyle/>
          <a:p>
            <a:endParaRPr lang="zh-CN" altLang="en-US"/>
          </a:p>
        </p:txBody>
      </p:sp>
      <p:sp>
        <p:nvSpPr>
          <p:cNvPr id="9801" name="副标题 2"/>
          <p:cNvSpPr>
            <a:spLocks noGrp="1"/>
          </p:cNvSpPr>
          <p:nvPr userDrawn="1">
            <p:ph type="subTitle" idx="1" hasCustomPrompt="1"/>
          </p:nvPr>
        </p:nvSpPr>
        <p:spPr>
          <a:xfrm>
            <a:off x="673099" y="4029160"/>
            <a:ext cx="6819901" cy="558799"/>
          </a:xfrm>
        </p:spPr>
        <p:txBody>
          <a:bodyPr anchor="t">
            <a:normAutofit/>
          </a:bodyPr>
          <a:lstStyle>
            <a:lvl1pPr marL="0" indent="0" algn="l">
              <a:buNone/>
              <a:defRPr sz="1600" i="1">
                <a:solidFill>
                  <a:schemeClr val="accent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73099" y="2008036"/>
            <a:ext cx="6819901" cy="2021125"/>
          </a:xfrm>
        </p:spPr>
        <p:txBody>
          <a:bodyPr anchor="b">
            <a:normAutofit/>
          </a:bodyPr>
          <a:lstStyle>
            <a:lvl1pPr algn="l">
              <a:defRPr sz="4000" i="1">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4863960"/>
            <a:ext cx="6819901" cy="296271"/>
          </a:xfrm>
        </p:spPr>
        <p:txBody>
          <a:bodyPr vert="horz" anchor="ctr">
            <a:noAutofit/>
          </a:bodyPr>
          <a:lstStyle>
            <a:lvl1pPr marL="0" indent="0" algn="l">
              <a:buNone/>
              <a:defRPr sz="1400" b="0" i="1">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5160231"/>
            <a:ext cx="6819901" cy="296271"/>
          </a:xfrm>
        </p:spPr>
        <p:txBody>
          <a:bodyPr vert="horz" anchor="ctr">
            <a:noAutofit/>
          </a:bodyPr>
          <a:lstStyle>
            <a:lvl1pPr marL="0" indent="0" algn="l">
              <a:buNone/>
              <a:defRPr sz="1400" b="0" i="1">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23" name="任意多边形: 形状 22">
            <a:extLst>
              <a:ext uri="{FF2B5EF4-FFF2-40B4-BE49-F238E27FC236}">
                <a16:creationId xmlns:a16="http://schemas.microsoft.com/office/drawing/2014/main" id="{96DBFC60-7B53-4871-934E-301E88AFBA35}"/>
              </a:ext>
            </a:extLst>
          </p:cNvPr>
          <p:cNvSpPr/>
          <p:nvPr/>
        </p:nvSpPr>
        <p:spPr>
          <a:xfrm>
            <a:off x="11523651" y="6464441"/>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7863"/>
                  <a:pt x="88821" y="38338"/>
                  <a:pt x="82153" y="37386"/>
                </a:cubicBezTo>
                <a:close/>
              </a:path>
            </a:pathLst>
          </a:custGeom>
          <a:solidFill>
            <a:schemeClr val="accent1">
              <a:lumMod val="60000"/>
              <a:lumOff val="40000"/>
            </a:schemeClr>
          </a:solidFill>
          <a:ln w="9525"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3035741" y="2657929"/>
            <a:ext cx="4164483" cy="895350"/>
          </a:xfrm>
        </p:spPr>
        <p:txBody>
          <a:bodyPr anchor="b">
            <a:normAutofit/>
          </a:bodyPr>
          <a:lstStyle>
            <a:lvl1pPr algn="l">
              <a:defRPr sz="2400" b="1" i="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036857" y="3553279"/>
            <a:ext cx="4164483" cy="1015623"/>
          </a:xfrm>
        </p:spPr>
        <p:txBody>
          <a:bodyPr anchor="t">
            <a:normAutofit/>
          </a:bodyPr>
          <a:lstStyle>
            <a:lvl1pPr marL="0" indent="0" algn="l">
              <a:lnSpc>
                <a:spcPct val="150000"/>
              </a:lnSpc>
              <a:spcBef>
                <a:spcPts val="0"/>
              </a:spcBef>
              <a:buNone/>
              <a:defRPr sz="1100" i="1">
                <a:solidFill>
                  <a:schemeClr val="accent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70" name="组合 69">
            <a:extLst>
              <a:ext uri="{FF2B5EF4-FFF2-40B4-BE49-F238E27FC236}">
                <a16:creationId xmlns:a16="http://schemas.microsoft.com/office/drawing/2014/main" id="{4E242ADF-EF25-4487-8162-7DC6F4A3DCBE}"/>
              </a:ext>
            </a:extLst>
          </p:cNvPr>
          <p:cNvGrpSpPr/>
          <p:nvPr userDrawn="1"/>
        </p:nvGrpSpPr>
        <p:grpSpPr>
          <a:xfrm>
            <a:off x="7340600" y="2263173"/>
            <a:ext cx="3982106" cy="2300993"/>
            <a:chOff x="7340600" y="2263173"/>
            <a:chExt cx="3982106" cy="2300993"/>
          </a:xfrm>
        </p:grpSpPr>
        <p:sp>
          <p:nvSpPr>
            <p:cNvPr id="30" name="任意多边形: 形状 29">
              <a:extLst>
                <a:ext uri="{FF2B5EF4-FFF2-40B4-BE49-F238E27FC236}">
                  <a16:creationId xmlns:a16="http://schemas.microsoft.com/office/drawing/2014/main" id="{CB308542-4C9B-4C46-BBF5-40FE90C79680}"/>
                </a:ext>
              </a:extLst>
            </p:cNvPr>
            <p:cNvSpPr/>
            <p:nvPr userDrawn="1"/>
          </p:nvSpPr>
          <p:spPr>
            <a:xfrm>
              <a:off x="10222506" y="2594979"/>
              <a:ext cx="170554" cy="170554"/>
            </a:xfrm>
            <a:custGeom>
              <a:avLst/>
              <a:gdLst>
                <a:gd name="connsiteX0" fmla="*/ 6429 w 104775"/>
                <a:gd name="connsiteY0" fmla="*/ 63579 h 104775"/>
                <a:gd name="connsiteX1" fmla="*/ 23574 w 104775"/>
                <a:gd name="connsiteY1" fmla="*/ 66437 h 104775"/>
                <a:gd name="connsiteX2" fmla="*/ 45482 w 104775"/>
                <a:gd name="connsiteY2" fmla="*/ 88344 h 104775"/>
                <a:gd name="connsiteX3" fmla="*/ 48339 w 104775"/>
                <a:gd name="connsiteY3" fmla="*/ 105489 h 104775"/>
                <a:gd name="connsiteX4" fmla="*/ 63579 w 104775"/>
                <a:gd name="connsiteY4" fmla="*/ 105489 h 104775"/>
                <a:gd name="connsiteX5" fmla="*/ 66437 w 104775"/>
                <a:gd name="connsiteY5" fmla="*/ 88344 h 104775"/>
                <a:gd name="connsiteX6" fmla="*/ 88344 w 104775"/>
                <a:gd name="connsiteY6" fmla="*/ 66437 h 104775"/>
                <a:gd name="connsiteX7" fmla="*/ 105489 w 104775"/>
                <a:gd name="connsiteY7" fmla="*/ 63579 h 104775"/>
                <a:gd name="connsiteX8" fmla="*/ 105489 w 104775"/>
                <a:gd name="connsiteY8" fmla="*/ 48339 h 104775"/>
                <a:gd name="connsiteX9" fmla="*/ 88344 w 104775"/>
                <a:gd name="connsiteY9" fmla="*/ 45482 h 104775"/>
                <a:gd name="connsiteX10" fmla="*/ 66437 w 104775"/>
                <a:gd name="connsiteY10" fmla="*/ 23574 h 104775"/>
                <a:gd name="connsiteX11" fmla="*/ 63579 w 104775"/>
                <a:gd name="connsiteY11" fmla="*/ 6429 h 104775"/>
                <a:gd name="connsiteX12" fmla="*/ 48339 w 104775"/>
                <a:gd name="connsiteY12" fmla="*/ 6429 h 104775"/>
                <a:gd name="connsiteX13" fmla="*/ 45482 w 104775"/>
                <a:gd name="connsiteY13" fmla="*/ 23574 h 104775"/>
                <a:gd name="connsiteX14" fmla="*/ 23574 w 104775"/>
                <a:gd name="connsiteY14" fmla="*/ 45482 h 104775"/>
                <a:gd name="connsiteX15" fmla="*/ 6429 w 104775"/>
                <a:gd name="connsiteY15" fmla="*/ 48339 h 104775"/>
                <a:gd name="connsiteX16" fmla="*/ 6429 w 104775"/>
                <a:gd name="connsiteY16" fmla="*/ 6357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6429" y="63579"/>
                  </a:move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50244"/>
                    <a:pt x="-2143" y="62627"/>
                    <a:pt x="6429" y="63579"/>
                  </a:cubicBezTo>
                  <a:close/>
                </a:path>
              </a:pathLst>
            </a:custGeom>
            <a:solidFill>
              <a:schemeClr val="bg2">
                <a:lumMod val="90000"/>
              </a:schemeClr>
            </a:solidFill>
            <a:ln w="9525" cap="flat">
              <a:noFill/>
              <a:prstDash val="solid"/>
              <a:miter/>
            </a:ln>
            <a:effectLst/>
          </p:spPr>
          <p:txBody>
            <a:bodyPr rtlCol="0" anchor="ctr"/>
            <a:lstStyle/>
            <a:p>
              <a:endParaRPr lang="zh-CN" altLang="en-US"/>
            </a:p>
          </p:txBody>
        </p:sp>
        <p:sp>
          <p:nvSpPr>
            <p:cNvPr id="31" name="任意多边形: 形状 30">
              <a:extLst>
                <a:ext uri="{FF2B5EF4-FFF2-40B4-BE49-F238E27FC236}">
                  <a16:creationId xmlns:a16="http://schemas.microsoft.com/office/drawing/2014/main" id="{030D9A9F-CDE1-4636-8585-B6D4368D7DA5}"/>
                </a:ext>
              </a:extLst>
            </p:cNvPr>
            <p:cNvSpPr/>
            <p:nvPr userDrawn="1"/>
          </p:nvSpPr>
          <p:spPr>
            <a:xfrm>
              <a:off x="9842158" y="4393612"/>
              <a:ext cx="170554" cy="170554"/>
            </a:xfrm>
            <a:custGeom>
              <a:avLst/>
              <a:gdLst>
                <a:gd name="connsiteX0" fmla="*/ 104537 w 104775"/>
                <a:gd name="connsiteY0" fmla="*/ 48339 h 104775"/>
                <a:gd name="connsiteX1" fmla="*/ 87392 w 104775"/>
                <a:gd name="connsiteY1" fmla="*/ 45482 h 104775"/>
                <a:gd name="connsiteX2" fmla="*/ 65484 w 104775"/>
                <a:gd name="connsiteY2" fmla="*/ 23574 h 104775"/>
                <a:gd name="connsiteX3" fmla="*/ 62627 w 104775"/>
                <a:gd name="connsiteY3" fmla="*/ 6429 h 104775"/>
                <a:gd name="connsiteX4" fmla="*/ 47387 w 104775"/>
                <a:gd name="connsiteY4" fmla="*/ 6429 h 104775"/>
                <a:gd name="connsiteX5" fmla="*/ 44529 w 104775"/>
                <a:gd name="connsiteY5" fmla="*/ 23574 h 104775"/>
                <a:gd name="connsiteX6" fmla="*/ 22622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4537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4537" y="48339"/>
                  </a:moveTo>
                  <a:lnTo>
                    <a:pt x="87392" y="45482"/>
                  </a:lnTo>
                  <a:cubicBezTo>
                    <a:pt x="75962" y="43577"/>
                    <a:pt x="67389" y="35004"/>
                    <a:pt x="65484" y="23574"/>
                  </a:cubicBezTo>
                  <a:lnTo>
                    <a:pt x="62627" y="6429"/>
                  </a:lnTo>
                  <a:cubicBezTo>
                    <a:pt x="61674" y="-2143"/>
                    <a:pt x="48339" y="-2143"/>
                    <a:pt x="47387" y="6429"/>
                  </a:cubicBezTo>
                  <a:lnTo>
                    <a:pt x="44529" y="23574"/>
                  </a:lnTo>
                  <a:cubicBezTo>
                    <a:pt x="42624" y="35004"/>
                    <a:pt x="34052" y="43577"/>
                    <a:pt x="22622"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3109" y="62627"/>
                    <a:pt x="113109" y="50244"/>
                    <a:pt x="104537" y="48339"/>
                  </a:cubicBezTo>
                  <a:close/>
                </a:path>
              </a:pathLst>
            </a:custGeom>
            <a:solidFill>
              <a:schemeClr val="bg2">
                <a:lumMod val="90000"/>
              </a:schemeClr>
            </a:solidFill>
            <a:ln w="9525" cap="flat">
              <a:noFill/>
              <a:prstDash val="solid"/>
              <a:miter/>
            </a:ln>
            <a:effectLst/>
          </p:spPr>
          <p:txBody>
            <a:bodyPr rtlCol="0" anchor="ctr"/>
            <a:lstStyle/>
            <a:p>
              <a:endParaRPr lang="zh-CN" altLang="en-US"/>
            </a:p>
          </p:txBody>
        </p:sp>
        <p:sp>
          <p:nvSpPr>
            <p:cNvPr id="32" name="任意多边形: 形状 31">
              <a:extLst>
                <a:ext uri="{FF2B5EF4-FFF2-40B4-BE49-F238E27FC236}">
                  <a16:creationId xmlns:a16="http://schemas.microsoft.com/office/drawing/2014/main" id="{600DE487-C816-440B-850E-A9BB35753539}"/>
                </a:ext>
              </a:extLst>
            </p:cNvPr>
            <p:cNvSpPr/>
            <p:nvPr userDrawn="1"/>
          </p:nvSpPr>
          <p:spPr>
            <a:xfrm>
              <a:off x="9803396" y="3313645"/>
              <a:ext cx="77524" cy="77524"/>
            </a:xfrm>
            <a:custGeom>
              <a:avLst/>
              <a:gdLst>
                <a:gd name="connsiteX0" fmla="*/ 48577 w 47625"/>
                <a:gd name="connsiteY0" fmla="*/ 21908 h 47625"/>
                <a:gd name="connsiteX1" fmla="*/ 40958 w 47625"/>
                <a:gd name="connsiteY1" fmla="*/ 20955 h 47625"/>
                <a:gd name="connsiteX2" fmla="*/ 30480 w 47625"/>
                <a:gd name="connsiteY2" fmla="*/ 10478 h 47625"/>
                <a:gd name="connsiteX3" fmla="*/ 29527 w 47625"/>
                <a:gd name="connsiteY3" fmla="*/ 2858 h 47625"/>
                <a:gd name="connsiteX4" fmla="*/ 21908 w 47625"/>
                <a:gd name="connsiteY4" fmla="*/ 2858 h 47625"/>
                <a:gd name="connsiteX5" fmla="*/ 20955 w 47625"/>
                <a:gd name="connsiteY5" fmla="*/ 10478 h 47625"/>
                <a:gd name="connsiteX6" fmla="*/ 10477 w 47625"/>
                <a:gd name="connsiteY6" fmla="*/ 20955 h 47625"/>
                <a:gd name="connsiteX7" fmla="*/ 2858 w 47625"/>
                <a:gd name="connsiteY7" fmla="*/ 21908 h 47625"/>
                <a:gd name="connsiteX8" fmla="*/ 2858 w 47625"/>
                <a:gd name="connsiteY8" fmla="*/ 29528 h 47625"/>
                <a:gd name="connsiteX9" fmla="*/ 10477 w 47625"/>
                <a:gd name="connsiteY9" fmla="*/ 30480 h 47625"/>
                <a:gd name="connsiteX10" fmla="*/ 20955 w 47625"/>
                <a:gd name="connsiteY10" fmla="*/ 40958 h 47625"/>
                <a:gd name="connsiteX11" fmla="*/ 21908 w 47625"/>
                <a:gd name="connsiteY11" fmla="*/ 48578 h 47625"/>
                <a:gd name="connsiteX12" fmla="*/ 29527 w 47625"/>
                <a:gd name="connsiteY12" fmla="*/ 48578 h 47625"/>
                <a:gd name="connsiteX13" fmla="*/ 30480 w 47625"/>
                <a:gd name="connsiteY13" fmla="*/ 40958 h 47625"/>
                <a:gd name="connsiteX14" fmla="*/ 40958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8" y="20955"/>
                  </a:lnTo>
                  <a:cubicBezTo>
                    <a:pt x="36195" y="20003"/>
                    <a:pt x="31433" y="16193"/>
                    <a:pt x="30480" y="10478"/>
                  </a:cubicBezTo>
                  <a:lnTo>
                    <a:pt x="29527" y="2858"/>
                  </a:lnTo>
                  <a:cubicBezTo>
                    <a:pt x="28575" y="-953"/>
                    <a:pt x="22860" y="-953"/>
                    <a:pt x="21908" y="2858"/>
                  </a:cubicBezTo>
                  <a:lnTo>
                    <a:pt x="20955" y="10478"/>
                  </a:lnTo>
                  <a:cubicBezTo>
                    <a:pt x="20002" y="15240"/>
                    <a:pt x="16193" y="20003"/>
                    <a:pt x="10477" y="20955"/>
                  </a:cubicBezTo>
                  <a:lnTo>
                    <a:pt x="2858" y="21908"/>
                  </a:lnTo>
                  <a:cubicBezTo>
                    <a:pt x="-953" y="22860"/>
                    <a:pt x="-953" y="28575"/>
                    <a:pt x="2858" y="29528"/>
                  </a:cubicBezTo>
                  <a:lnTo>
                    <a:pt x="10477" y="30480"/>
                  </a:lnTo>
                  <a:cubicBezTo>
                    <a:pt x="15240" y="31433"/>
                    <a:pt x="20002" y="35243"/>
                    <a:pt x="20955" y="40958"/>
                  </a:cubicBezTo>
                  <a:lnTo>
                    <a:pt x="21908" y="48578"/>
                  </a:lnTo>
                  <a:cubicBezTo>
                    <a:pt x="22860" y="52387"/>
                    <a:pt x="28575" y="52387"/>
                    <a:pt x="29527" y="48578"/>
                  </a:cubicBezTo>
                  <a:lnTo>
                    <a:pt x="30480" y="40958"/>
                  </a:lnTo>
                  <a:cubicBezTo>
                    <a:pt x="31433" y="36195"/>
                    <a:pt x="35243" y="31433"/>
                    <a:pt x="40958" y="30480"/>
                  </a:cubicBezTo>
                  <a:lnTo>
                    <a:pt x="48577" y="29528"/>
                  </a:lnTo>
                  <a:cubicBezTo>
                    <a:pt x="52388" y="28575"/>
                    <a:pt x="52388" y="22860"/>
                    <a:pt x="48577" y="21908"/>
                  </a:cubicBezTo>
                  <a:close/>
                </a:path>
              </a:pathLst>
            </a:custGeom>
            <a:solidFill>
              <a:schemeClr val="bg2">
                <a:lumMod val="90000"/>
              </a:schemeClr>
            </a:solidFill>
            <a:ln w="9525" cap="flat">
              <a:noFill/>
              <a:prstDash val="solid"/>
              <a:miter/>
            </a:ln>
            <a:effectLst/>
          </p:spPr>
          <p:txBody>
            <a:bodyPr rtlCol="0" anchor="ctr"/>
            <a:lstStyle/>
            <a:p>
              <a:endParaRPr lang="zh-CN" altLang="en-US"/>
            </a:p>
          </p:txBody>
        </p:sp>
        <p:sp>
          <p:nvSpPr>
            <p:cNvPr id="35" name="任意多边形: 形状 34">
              <a:extLst>
                <a:ext uri="{FF2B5EF4-FFF2-40B4-BE49-F238E27FC236}">
                  <a16:creationId xmlns:a16="http://schemas.microsoft.com/office/drawing/2014/main" id="{4E4F9B98-4F95-48F8-863A-E5DC93218693}"/>
                </a:ext>
              </a:extLst>
            </p:cNvPr>
            <p:cNvSpPr/>
            <p:nvPr/>
          </p:nvSpPr>
          <p:spPr>
            <a:xfrm>
              <a:off x="8762266" y="2263173"/>
              <a:ext cx="917479" cy="917479"/>
            </a:xfrm>
            <a:custGeom>
              <a:avLst/>
              <a:gdLst>
                <a:gd name="connsiteX0" fmla="*/ 598170 w 590550"/>
                <a:gd name="connsiteY0" fmla="*/ 299085 h 590550"/>
                <a:gd name="connsiteX1" fmla="*/ 299085 w 590550"/>
                <a:gd name="connsiteY1" fmla="*/ 598170 h 590550"/>
                <a:gd name="connsiteX2" fmla="*/ 0 w 590550"/>
                <a:gd name="connsiteY2" fmla="*/ 299085 h 590550"/>
                <a:gd name="connsiteX3" fmla="*/ 299085 w 590550"/>
                <a:gd name="connsiteY3" fmla="*/ 0 h 590550"/>
                <a:gd name="connsiteX4" fmla="*/ 598170 w 590550"/>
                <a:gd name="connsiteY4" fmla="*/ 299085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590550">
                  <a:moveTo>
                    <a:pt x="598170" y="299085"/>
                  </a:moveTo>
                  <a:cubicBezTo>
                    <a:pt x="598170" y="464265"/>
                    <a:pt x="464265" y="598170"/>
                    <a:pt x="299085" y="598170"/>
                  </a:cubicBezTo>
                  <a:cubicBezTo>
                    <a:pt x="133905" y="598170"/>
                    <a:pt x="0" y="464265"/>
                    <a:pt x="0" y="299085"/>
                  </a:cubicBezTo>
                  <a:cubicBezTo>
                    <a:pt x="0" y="133905"/>
                    <a:pt x="133905" y="0"/>
                    <a:pt x="299085" y="0"/>
                  </a:cubicBezTo>
                  <a:cubicBezTo>
                    <a:pt x="464265" y="0"/>
                    <a:pt x="598170" y="133905"/>
                    <a:pt x="598170" y="299085"/>
                  </a:cubicBezTo>
                  <a:close/>
                </a:path>
              </a:pathLst>
            </a:custGeom>
            <a:solidFill>
              <a:schemeClr val="tx2">
                <a:lumMod val="20000"/>
                <a:lumOff val="80000"/>
              </a:schemeClr>
            </a:solidFill>
            <a:ln w="9525" cap="flat">
              <a:noFill/>
              <a:prstDash val="solid"/>
              <a:miter/>
            </a:ln>
          </p:spPr>
          <p:txBody>
            <a:bodyPr rtlCol="0" anchor="ctr"/>
            <a:lstStyle/>
            <a:p>
              <a:endParaRPr lang="zh-CN" altLang="en-US"/>
            </a:p>
          </p:txBody>
        </p:sp>
        <p:sp>
          <p:nvSpPr>
            <p:cNvPr id="36" name="任意多边形: 形状 35">
              <a:extLst>
                <a:ext uri="{FF2B5EF4-FFF2-40B4-BE49-F238E27FC236}">
                  <a16:creationId xmlns:a16="http://schemas.microsoft.com/office/drawing/2014/main" id="{E16F905D-51BD-482F-A502-04B6377495B4}"/>
                </a:ext>
              </a:extLst>
            </p:cNvPr>
            <p:cNvSpPr/>
            <p:nvPr/>
          </p:nvSpPr>
          <p:spPr>
            <a:xfrm>
              <a:off x="8762266" y="2331243"/>
              <a:ext cx="927838" cy="861246"/>
            </a:xfrm>
            <a:custGeom>
              <a:avLst/>
              <a:gdLst>
                <a:gd name="connsiteX0" fmla="*/ 156949 w 826956"/>
                <a:gd name="connsiteY0" fmla="*/ 679237 h 767604"/>
                <a:gd name="connsiteX1" fmla="*/ 648902 w 826956"/>
                <a:gd name="connsiteY1" fmla="*/ 693746 h 767604"/>
                <a:gd name="connsiteX2" fmla="*/ 412817 w 826956"/>
                <a:gd name="connsiteY2" fmla="*/ 767604 h 767604"/>
                <a:gd name="connsiteX3" fmla="*/ 156949 w 826956"/>
                <a:gd name="connsiteY3" fmla="*/ 679237 h 767604"/>
                <a:gd name="connsiteX4" fmla="*/ 52756 w 826956"/>
                <a:gd name="connsiteY4" fmla="*/ 555261 h 767604"/>
                <a:gd name="connsiteX5" fmla="*/ 772879 w 826956"/>
                <a:gd name="connsiteY5" fmla="*/ 560537 h 767604"/>
                <a:gd name="connsiteX6" fmla="*/ 742545 w 826956"/>
                <a:gd name="connsiteY6" fmla="*/ 605379 h 767604"/>
                <a:gd name="connsiteX7" fmla="*/ 85729 w 826956"/>
                <a:gd name="connsiteY7" fmla="*/ 605379 h 767604"/>
                <a:gd name="connsiteX8" fmla="*/ 52756 w 826956"/>
                <a:gd name="connsiteY8" fmla="*/ 555261 h 767604"/>
                <a:gd name="connsiteX9" fmla="*/ 826955 w 826956"/>
                <a:gd name="connsiteY9" fmla="*/ 365337 h 767604"/>
                <a:gd name="connsiteX10" fmla="*/ 803214 w 826956"/>
                <a:gd name="connsiteY10" fmla="*/ 493272 h 767604"/>
                <a:gd name="connsiteX11" fmla="*/ 11869 w 826956"/>
                <a:gd name="connsiteY11" fmla="*/ 455023 h 767604"/>
                <a:gd name="connsiteX12" fmla="*/ 3956 w 826956"/>
                <a:gd name="connsiteY12" fmla="*/ 416775 h 767604"/>
                <a:gd name="connsiteX13" fmla="*/ 6595 w 826956"/>
                <a:gd name="connsiteY13" fmla="*/ 280926 h 767604"/>
                <a:gd name="connsiteX14" fmla="*/ 6595 w 826956"/>
                <a:gd name="connsiteY14" fmla="*/ 282246 h 767604"/>
                <a:gd name="connsiteX15" fmla="*/ 820361 w 826956"/>
                <a:gd name="connsiteY15" fmla="*/ 282246 h 767604"/>
                <a:gd name="connsiteX16" fmla="*/ 826956 w 826956"/>
                <a:gd name="connsiteY16" fmla="*/ 333682 h 767604"/>
                <a:gd name="connsiteX17" fmla="*/ 0 w 826956"/>
                <a:gd name="connsiteY17" fmla="*/ 350828 h 767604"/>
                <a:gd name="connsiteX18" fmla="*/ 6595 w 826956"/>
                <a:gd name="connsiteY18" fmla="*/ 280926 h 767604"/>
                <a:gd name="connsiteX19" fmla="*/ 778156 w 826956"/>
                <a:gd name="connsiteY19" fmla="*/ 155631 h 767604"/>
                <a:gd name="connsiteX20" fmla="*/ 804534 w 826956"/>
                <a:gd name="connsiteY20" fmla="*/ 214982 h 767604"/>
                <a:gd name="connsiteX21" fmla="*/ 23740 w 826956"/>
                <a:gd name="connsiteY21" fmla="*/ 214982 h 767604"/>
                <a:gd name="connsiteX22" fmla="*/ 27696 w 826956"/>
                <a:gd name="connsiteY22" fmla="*/ 205749 h 767604"/>
                <a:gd name="connsiteX23" fmla="*/ 627799 w 826956"/>
                <a:gd name="connsiteY23" fmla="*/ 0 h 767604"/>
                <a:gd name="connsiteX24" fmla="*/ 718804 w 826956"/>
                <a:gd name="connsiteY24" fmla="*/ 75178 h 767604"/>
                <a:gd name="connsiteX25" fmla="*/ 47479 w 826956"/>
                <a:gd name="connsiteY25" fmla="*/ 158269 h 767604"/>
                <a:gd name="connsiteX26" fmla="*/ 137165 w 826956"/>
                <a:gd name="connsiteY26" fmla="*/ 44843 h 76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6956" h="767604">
                  <a:moveTo>
                    <a:pt x="156949" y="679237"/>
                  </a:moveTo>
                  <a:lnTo>
                    <a:pt x="648902" y="693746"/>
                  </a:lnTo>
                  <a:cubicBezTo>
                    <a:pt x="581637" y="739906"/>
                    <a:pt x="501185" y="767604"/>
                    <a:pt x="412817" y="767604"/>
                  </a:cubicBezTo>
                  <a:cubicBezTo>
                    <a:pt x="316538" y="767604"/>
                    <a:pt x="226852" y="734631"/>
                    <a:pt x="156949" y="679237"/>
                  </a:cubicBezTo>
                  <a:close/>
                  <a:moveTo>
                    <a:pt x="52756" y="555261"/>
                  </a:moveTo>
                  <a:lnTo>
                    <a:pt x="772879" y="560537"/>
                  </a:lnTo>
                  <a:cubicBezTo>
                    <a:pt x="763648" y="576363"/>
                    <a:pt x="753095" y="590872"/>
                    <a:pt x="742545" y="605379"/>
                  </a:cubicBezTo>
                  <a:lnTo>
                    <a:pt x="85729" y="605379"/>
                  </a:lnTo>
                  <a:cubicBezTo>
                    <a:pt x="72540" y="589552"/>
                    <a:pt x="61988" y="573726"/>
                    <a:pt x="52756" y="555261"/>
                  </a:cubicBezTo>
                  <a:close/>
                  <a:moveTo>
                    <a:pt x="826955" y="365337"/>
                  </a:moveTo>
                  <a:cubicBezTo>
                    <a:pt x="825635" y="410180"/>
                    <a:pt x="817722" y="452385"/>
                    <a:pt x="803214" y="493272"/>
                  </a:cubicBezTo>
                  <a:lnTo>
                    <a:pt x="11869" y="455023"/>
                  </a:lnTo>
                  <a:cubicBezTo>
                    <a:pt x="9232" y="443153"/>
                    <a:pt x="6594" y="429964"/>
                    <a:pt x="3956" y="416775"/>
                  </a:cubicBezTo>
                  <a:close/>
                  <a:moveTo>
                    <a:pt x="6595" y="280926"/>
                  </a:moveTo>
                  <a:lnTo>
                    <a:pt x="6595" y="282246"/>
                  </a:lnTo>
                  <a:lnTo>
                    <a:pt x="820361" y="282246"/>
                  </a:lnTo>
                  <a:cubicBezTo>
                    <a:pt x="824317" y="298072"/>
                    <a:pt x="825636" y="316537"/>
                    <a:pt x="826956" y="333682"/>
                  </a:cubicBezTo>
                  <a:lnTo>
                    <a:pt x="0" y="350828"/>
                  </a:lnTo>
                  <a:cubicBezTo>
                    <a:pt x="0" y="327088"/>
                    <a:pt x="2638" y="303348"/>
                    <a:pt x="6595" y="280926"/>
                  </a:cubicBezTo>
                  <a:close/>
                  <a:moveTo>
                    <a:pt x="778156" y="155631"/>
                  </a:moveTo>
                  <a:cubicBezTo>
                    <a:pt x="788707" y="174096"/>
                    <a:pt x="796620" y="193878"/>
                    <a:pt x="804534" y="214982"/>
                  </a:cubicBezTo>
                  <a:lnTo>
                    <a:pt x="23740" y="214982"/>
                  </a:lnTo>
                  <a:cubicBezTo>
                    <a:pt x="23740" y="212344"/>
                    <a:pt x="25058" y="208387"/>
                    <a:pt x="27696" y="205749"/>
                  </a:cubicBezTo>
                  <a:close/>
                  <a:moveTo>
                    <a:pt x="627799" y="0"/>
                  </a:moveTo>
                  <a:cubicBezTo>
                    <a:pt x="662090" y="21103"/>
                    <a:pt x="692426" y="46162"/>
                    <a:pt x="718804" y="75178"/>
                  </a:cubicBezTo>
                  <a:lnTo>
                    <a:pt x="47479" y="158269"/>
                  </a:lnTo>
                  <a:cubicBezTo>
                    <a:pt x="71219" y="114746"/>
                    <a:pt x="101555" y="76497"/>
                    <a:pt x="137165" y="44843"/>
                  </a:cubicBezTo>
                  <a:close/>
                </a:path>
              </a:pathLst>
            </a:custGeom>
            <a:solidFill>
              <a:schemeClr val="tx2">
                <a:lumMod val="40000"/>
                <a:lumOff val="60000"/>
              </a:schemeClr>
            </a:solidFill>
            <a:ln w="9525" cap="flat">
              <a:noFill/>
              <a:prstDash val="solid"/>
              <a:miter/>
            </a:ln>
          </p:spPr>
          <p:txBody>
            <a:bodyPr rtlCol="0" anchor="ctr"/>
            <a:lstStyle/>
            <a:p>
              <a:endParaRPr lang="zh-CN" altLang="en-US"/>
            </a:p>
          </p:txBody>
        </p:sp>
        <p:sp>
          <p:nvSpPr>
            <p:cNvPr id="38" name="任意多边形: 形状 37">
              <a:extLst>
                <a:ext uri="{FF2B5EF4-FFF2-40B4-BE49-F238E27FC236}">
                  <a16:creationId xmlns:a16="http://schemas.microsoft.com/office/drawing/2014/main" id="{6B1CF7EE-1555-4FE7-9EE3-121A13D8D989}"/>
                </a:ext>
              </a:extLst>
            </p:cNvPr>
            <p:cNvSpPr/>
            <p:nvPr/>
          </p:nvSpPr>
          <p:spPr>
            <a:xfrm>
              <a:off x="10393060" y="3428983"/>
              <a:ext cx="929646" cy="929645"/>
            </a:xfrm>
            <a:custGeom>
              <a:avLst/>
              <a:gdLst>
                <a:gd name="connsiteX0" fmla="*/ 781050 w 781050"/>
                <a:gd name="connsiteY0" fmla="*/ 390525 h 781050"/>
                <a:gd name="connsiteX1" fmla="*/ 390525 w 781050"/>
                <a:gd name="connsiteY1" fmla="*/ 781050 h 781050"/>
                <a:gd name="connsiteX2" fmla="*/ 0 w 781050"/>
                <a:gd name="connsiteY2" fmla="*/ 390525 h 781050"/>
                <a:gd name="connsiteX3" fmla="*/ 390525 w 781050"/>
                <a:gd name="connsiteY3" fmla="*/ 0 h 781050"/>
                <a:gd name="connsiteX4" fmla="*/ 781050 w 781050"/>
                <a:gd name="connsiteY4" fmla="*/ 390525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781050">
                  <a:moveTo>
                    <a:pt x="781050" y="390525"/>
                  </a:moveTo>
                  <a:cubicBezTo>
                    <a:pt x="781050" y="606206"/>
                    <a:pt x="606206" y="781050"/>
                    <a:pt x="390525" y="781050"/>
                  </a:cubicBezTo>
                  <a:cubicBezTo>
                    <a:pt x="174844" y="781050"/>
                    <a:pt x="0" y="606206"/>
                    <a:pt x="0" y="390525"/>
                  </a:cubicBezTo>
                  <a:cubicBezTo>
                    <a:pt x="0" y="174844"/>
                    <a:pt x="174844" y="0"/>
                    <a:pt x="390525" y="0"/>
                  </a:cubicBezTo>
                  <a:cubicBezTo>
                    <a:pt x="606206" y="0"/>
                    <a:pt x="781050" y="174844"/>
                    <a:pt x="781050" y="390525"/>
                  </a:cubicBezTo>
                  <a:close/>
                </a:path>
              </a:pathLst>
            </a:custGeom>
            <a:solidFill>
              <a:srgbClr val="D2D5DC"/>
            </a:solidFill>
            <a:ln w="9525" cap="flat">
              <a:noFill/>
              <a:prstDash val="solid"/>
              <a:miter/>
            </a:ln>
          </p:spPr>
          <p:txBody>
            <a:bodyPr rtlCol="0" anchor="ctr"/>
            <a:lstStyle/>
            <a:p>
              <a:endParaRPr lang="zh-CN" altLang="en-US"/>
            </a:p>
          </p:txBody>
        </p:sp>
        <p:sp>
          <p:nvSpPr>
            <p:cNvPr id="39" name="任意多边形: 形状 38">
              <a:extLst>
                <a:ext uri="{FF2B5EF4-FFF2-40B4-BE49-F238E27FC236}">
                  <a16:creationId xmlns:a16="http://schemas.microsoft.com/office/drawing/2014/main" id="{58649B70-780B-4F38-BD87-34C1C3A136BE}"/>
                </a:ext>
              </a:extLst>
            </p:cNvPr>
            <p:cNvSpPr/>
            <p:nvPr userDrawn="1"/>
          </p:nvSpPr>
          <p:spPr>
            <a:xfrm>
              <a:off x="10655548" y="3428984"/>
              <a:ext cx="657555" cy="714239"/>
            </a:xfrm>
            <a:custGeom>
              <a:avLst/>
              <a:gdLst>
                <a:gd name="connsiteX0" fmla="*/ 493844 w 552450"/>
                <a:gd name="connsiteY0" fmla="*/ 606743 h 600075"/>
                <a:gd name="connsiteX1" fmla="*/ 559566 w 552450"/>
                <a:gd name="connsiteY1" fmla="*/ 390525 h 600075"/>
                <a:gd name="connsiteX2" fmla="*/ 169041 w 552450"/>
                <a:gd name="connsiteY2" fmla="*/ 0 h 600075"/>
                <a:gd name="connsiteX3" fmla="*/ 58551 w 552450"/>
                <a:gd name="connsiteY3" fmla="*/ 16193 h 600075"/>
                <a:gd name="connsiteX4" fmla="*/ 21404 w 552450"/>
                <a:gd name="connsiteY4" fmla="*/ 368618 h 600075"/>
                <a:gd name="connsiteX5" fmla="*/ 324299 w 552450"/>
                <a:gd name="connsiteY5" fmla="*/ 555308 h 600075"/>
                <a:gd name="connsiteX6" fmla="*/ 493844 w 552450"/>
                <a:gd name="connsiteY6" fmla="*/ 606743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450" h="600075">
                  <a:moveTo>
                    <a:pt x="493844" y="606743"/>
                  </a:moveTo>
                  <a:cubicBezTo>
                    <a:pt x="535754" y="544830"/>
                    <a:pt x="559566" y="470535"/>
                    <a:pt x="559566" y="390525"/>
                  </a:cubicBezTo>
                  <a:cubicBezTo>
                    <a:pt x="559566" y="175260"/>
                    <a:pt x="385259" y="0"/>
                    <a:pt x="169041" y="0"/>
                  </a:cubicBezTo>
                  <a:cubicBezTo>
                    <a:pt x="130941" y="0"/>
                    <a:pt x="93794" y="5715"/>
                    <a:pt x="58551" y="16193"/>
                  </a:cubicBezTo>
                  <a:cubicBezTo>
                    <a:pt x="-5266" y="118110"/>
                    <a:pt x="-15744" y="262890"/>
                    <a:pt x="21404" y="368618"/>
                  </a:cubicBezTo>
                  <a:cubicBezTo>
                    <a:pt x="69029" y="501968"/>
                    <a:pt x="198569" y="533400"/>
                    <a:pt x="324299" y="555308"/>
                  </a:cubicBezTo>
                  <a:cubicBezTo>
                    <a:pt x="381449" y="565785"/>
                    <a:pt x="442409" y="578168"/>
                    <a:pt x="493844" y="606743"/>
                  </a:cubicBezTo>
                  <a:close/>
                </a:path>
              </a:pathLst>
            </a:custGeom>
            <a:solidFill>
              <a:schemeClr val="tx2">
                <a:lumMod val="20000"/>
                <a:lumOff val="80000"/>
              </a:schemeClr>
            </a:solidFill>
            <a:ln w="9525" cap="flat">
              <a:noFill/>
              <a:prstDash val="solid"/>
              <a:miter/>
            </a:ln>
          </p:spPr>
          <p:txBody>
            <a:bodyPr rtlCol="0" anchor="ctr"/>
            <a:lstStyle/>
            <a:p>
              <a:endParaRPr lang="zh-CN" altLang="en-US"/>
            </a:p>
          </p:txBody>
        </p:sp>
        <p:sp>
          <p:nvSpPr>
            <p:cNvPr id="40" name="任意多边形: 形状 39">
              <a:extLst>
                <a:ext uri="{FF2B5EF4-FFF2-40B4-BE49-F238E27FC236}">
                  <a16:creationId xmlns:a16="http://schemas.microsoft.com/office/drawing/2014/main" id="{0E347D35-9D32-4A38-89AB-2FB79774EE0F}"/>
                </a:ext>
              </a:extLst>
            </p:cNvPr>
            <p:cNvSpPr/>
            <p:nvPr/>
          </p:nvSpPr>
          <p:spPr>
            <a:xfrm>
              <a:off x="10835355" y="3433518"/>
              <a:ext cx="476160" cy="544183"/>
            </a:xfrm>
            <a:custGeom>
              <a:avLst/>
              <a:gdLst>
                <a:gd name="connsiteX0" fmla="*/ 70362 w 400050"/>
                <a:gd name="connsiteY0" fmla="*/ 0 h 457200"/>
                <a:gd name="connsiteX1" fmla="*/ 42739 w 400050"/>
                <a:gd name="connsiteY1" fmla="*/ 29528 h 457200"/>
                <a:gd name="connsiteX2" fmla="*/ 6544 w 400050"/>
                <a:gd name="connsiteY2" fmla="*/ 191453 h 457200"/>
                <a:gd name="connsiteX3" fmla="*/ 169422 w 400050"/>
                <a:gd name="connsiteY3" fmla="*/ 327660 h 457200"/>
                <a:gd name="connsiteX4" fmla="*/ 364684 w 400050"/>
                <a:gd name="connsiteY4" fmla="*/ 422910 h 457200"/>
                <a:gd name="connsiteX5" fmla="*/ 400879 w 400050"/>
                <a:gd name="connsiteY5" fmla="*/ 464820 h 457200"/>
                <a:gd name="connsiteX6" fmla="*/ 408499 w 400050"/>
                <a:gd name="connsiteY6" fmla="*/ 386715 h 457200"/>
                <a:gd name="connsiteX7" fmla="*/ 70362 w 400050"/>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57200">
                  <a:moveTo>
                    <a:pt x="70362" y="0"/>
                  </a:moveTo>
                  <a:cubicBezTo>
                    <a:pt x="60837" y="9525"/>
                    <a:pt x="51312" y="19050"/>
                    <a:pt x="42739" y="29528"/>
                  </a:cubicBezTo>
                  <a:cubicBezTo>
                    <a:pt x="7497" y="74295"/>
                    <a:pt x="-10601" y="136208"/>
                    <a:pt x="6544" y="191453"/>
                  </a:cubicBezTo>
                  <a:cubicBezTo>
                    <a:pt x="29404" y="260985"/>
                    <a:pt x="100842" y="301943"/>
                    <a:pt x="169422" y="327660"/>
                  </a:cubicBezTo>
                  <a:cubicBezTo>
                    <a:pt x="238002" y="353378"/>
                    <a:pt x="312297" y="372428"/>
                    <a:pt x="364684" y="422910"/>
                  </a:cubicBezTo>
                  <a:cubicBezTo>
                    <a:pt x="378019" y="435293"/>
                    <a:pt x="389449" y="450533"/>
                    <a:pt x="400879" y="464820"/>
                  </a:cubicBezTo>
                  <a:cubicBezTo>
                    <a:pt x="405642" y="439103"/>
                    <a:pt x="408499" y="413385"/>
                    <a:pt x="408499" y="386715"/>
                  </a:cubicBezTo>
                  <a:cubicBezTo>
                    <a:pt x="408499" y="188595"/>
                    <a:pt x="260862" y="24765"/>
                    <a:pt x="70362" y="0"/>
                  </a:cubicBezTo>
                  <a:close/>
                </a:path>
              </a:pathLst>
            </a:custGeom>
            <a:solidFill>
              <a:schemeClr val="bg1">
                <a:alpha val="50000"/>
              </a:schemeClr>
            </a:solidFill>
            <a:ln w="9525" cap="flat">
              <a:noFill/>
              <a:prstDash val="solid"/>
              <a:miter/>
            </a:ln>
          </p:spPr>
          <p:txBody>
            <a:bodyPr rtlCol="0" anchor="ctr"/>
            <a:lstStyle/>
            <a:p>
              <a:endParaRPr lang="zh-CN" altLang="en-US"/>
            </a:p>
          </p:txBody>
        </p:sp>
        <p:grpSp>
          <p:nvGrpSpPr>
            <p:cNvPr id="66" name="组合 65">
              <a:extLst>
                <a:ext uri="{FF2B5EF4-FFF2-40B4-BE49-F238E27FC236}">
                  <a16:creationId xmlns:a16="http://schemas.microsoft.com/office/drawing/2014/main" id="{92AD2472-F1D3-4D0D-86AE-6CE53F7AE0F6}"/>
                </a:ext>
              </a:extLst>
            </p:cNvPr>
            <p:cNvGrpSpPr/>
            <p:nvPr userDrawn="1"/>
          </p:nvGrpSpPr>
          <p:grpSpPr>
            <a:xfrm>
              <a:off x="10493507" y="3552948"/>
              <a:ext cx="733952" cy="681714"/>
              <a:chOff x="10493507" y="3552948"/>
              <a:chExt cx="733952" cy="681714"/>
            </a:xfrm>
            <a:solidFill>
              <a:schemeClr val="tx2">
                <a:lumMod val="60000"/>
                <a:lumOff val="40000"/>
              </a:schemeClr>
            </a:solidFill>
          </p:grpSpPr>
          <p:sp>
            <p:nvSpPr>
              <p:cNvPr id="55" name="任意多边形: 形状 54">
                <a:extLst>
                  <a:ext uri="{FF2B5EF4-FFF2-40B4-BE49-F238E27FC236}">
                    <a16:creationId xmlns:a16="http://schemas.microsoft.com/office/drawing/2014/main" id="{C656039F-869F-4E39-A49A-86E5E43DDCFC}"/>
                  </a:ext>
                </a:extLst>
              </p:cNvPr>
              <p:cNvSpPr/>
              <p:nvPr/>
            </p:nvSpPr>
            <p:spPr>
              <a:xfrm>
                <a:off x="11136762" y="3779284"/>
                <a:ext cx="90697" cy="90697"/>
              </a:xfrm>
              <a:custGeom>
                <a:avLst/>
                <a:gdLst>
                  <a:gd name="connsiteX0" fmla="*/ 14301 w 76200"/>
                  <a:gd name="connsiteY0" fmla="*/ 9538 h 76200"/>
                  <a:gd name="connsiteX1" fmla="*/ 71451 w 76200"/>
                  <a:gd name="connsiteY1" fmla="*/ 14301 h 76200"/>
                  <a:gd name="connsiteX2" fmla="*/ 66688 w 76200"/>
                  <a:gd name="connsiteY2" fmla="*/ 71451 h 76200"/>
                  <a:gd name="connsiteX3" fmla="*/ 9538 w 76200"/>
                  <a:gd name="connsiteY3" fmla="*/ 66688 h 76200"/>
                  <a:gd name="connsiteX4" fmla="*/ 14301 w 76200"/>
                  <a:gd name="connsiteY4" fmla="*/ 953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14301" y="9538"/>
                    </a:moveTo>
                    <a:cubicBezTo>
                      <a:pt x="31446" y="-4749"/>
                      <a:pt x="57163" y="-2844"/>
                      <a:pt x="71451" y="14301"/>
                    </a:cubicBezTo>
                    <a:cubicBezTo>
                      <a:pt x="85738" y="31446"/>
                      <a:pt x="83833" y="57163"/>
                      <a:pt x="66688" y="71451"/>
                    </a:cubicBezTo>
                    <a:cubicBezTo>
                      <a:pt x="49543" y="85738"/>
                      <a:pt x="23826" y="83833"/>
                      <a:pt x="9538" y="66688"/>
                    </a:cubicBezTo>
                    <a:cubicBezTo>
                      <a:pt x="-4749" y="49543"/>
                      <a:pt x="-2844" y="24778"/>
                      <a:pt x="14301" y="9538"/>
                    </a:cubicBezTo>
                    <a:close/>
                  </a:path>
                </a:pathLst>
              </a:custGeom>
              <a:grpFill/>
              <a:ln w="9525" cap="flat">
                <a:noFill/>
                <a:prstDash val="solid"/>
                <a:miter/>
              </a:ln>
            </p:spPr>
            <p:txBody>
              <a:bodyPr rtlCol="0" anchor="ctr"/>
              <a:lstStyle/>
              <a:p>
                <a:endParaRPr lang="zh-CN" altLang="en-US"/>
              </a:p>
            </p:txBody>
          </p:sp>
          <p:grpSp>
            <p:nvGrpSpPr>
              <p:cNvPr id="65" name="组合 64">
                <a:extLst>
                  <a:ext uri="{FF2B5EF4-FFF2-40B4-BE49-F238E27FC236}">
                    <a16:creationId xmlns:a16="http://schemas.microsoft.com/office/drawing/2014/main" id="{2571965A-B87C-405D-88A5-6994DBE757B6}"/>
                  </a:ext>
                </a:extLst>
              </p:cNvPr>
              <p:cNvGrpSpPr/>
              <p:nvPr userDrawn="1"/>
            </p:nvGrpSpPr>
            <p:grpSpPr>
              <a:xfrm>
                <a:off x="10493507" y="3552948"/>
                <a:ext cx="633652" cy="681714"/>
                <a:chOff x="10513329" y="3551278"/>
                <a:chExt cx="633652" cy="681714"/>
              </a:xfrm>
              <a:grpFill/>
            </p:grpSpPr>
            <p:sp>
              <p:nvSpPr>
                <p:cNvPr id="41" name="任意多边形: 形状 40">
                  <a:extLst>
                    <a:ext uri="{FF2B5EF4-FFF2-40B4-BE49-F238E27FC236}">
                      <a16:creationId xmlns:a16="http://schemas.microsoft.com/office/drawing/2014/main" id="{A533E70C-3665-4B1E-86CB-031E02A39E72}"/>
                    </a:ext>
                  </a:extLst>
                </p:cNvPr>
                <p:cNvSpPr/>
                <p:nvPr/>
              </p:nvSpPr>
              <p:spPr>
                <a:xfrm>
                  <a:off x="10999598" y="4058047"/>
                  <a:ext cx="147383" cy="147383"/>
                </a:xfrm>
                <a:custGeom>
                  <a:avLst/>
                  <a:gdLst>
                    <a:gd name="connsiteX0" fmla="*/ 127635 w 123825"/>
                    <a:gd name="connsiteY0" fmla="*/ 63818 h 123825"/>
                    <a:gd name="connsiteX1" fmla="*/ 63818 w 123825"/>
                    <a:gd name="connsiteY1" fmla="*/ 127635 h 123825"/>
                    <a:gd name="connsiteX2" fmla="*/ 0 w 123825"/>
                    <a:gd name="connsiteY2" fmla="*/ 63817 h 123825"/>
                    <a:gd name="connsiteX3" fmla="*/ 63818 w 123825"/>
                    <a:gd name="connsiteY3" fmla="*/ 0 h 123825"/>
                    <a:gd name="connsiteX4" fmla="*/ 127635 w 123825"/>
                    <a:gd name="connsiteY4" fmla="*/ 63818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127635" y="63818"/>
                      </a:moveTo>
                      <a:cubicBezTo>
                        <a:pt x="127635" y="99063"/>
                        <a:pt x="99063" y="127635"/>
                        <a:pt x="63818" y="127635"/>
                      </a:cubicBezTo>
                      <a:cubicBezTo>
                        <a:pt x="28572" y="127635"/>
                        <a:pt x="0" y="99063"/>
                        <a:pt x="0" y="63817"/>
                      </a:cubicBezTo>
                      <a:cubicBezTo>
                        <a:pt x="0" y="28572"/>
                        <a:pt x="28572" y="0"/>
                        <a:pt x="63818" y="0"/>
                      </a:cubicBezTo>
                      <a:cubicBezTo>
                        <a:pt x="99063" y="0"/>
                        <a:pt x="127635" y="28572"/>
                        <a:pt x="127635" y="63818"/>
                      </a:cubicBezTo>
                      <a:close/>
                    </a:path>
                  </a:pathLst>
                </a:custGeom>
                <a:grpFill/>
                <a:ln w="9525" cap="flat">
                  <a:noFill/>
                  <a:prstDash val="solid"/>
                  <a:miter/>
                </a:ln>
              </p:spPr>
              <p:txBody>
                <a:bodyPr rtlCol="0" anchor="ctr"/>
                <a:lstStyle/>
                <a:p>
                  <a:endParaRPr lang="zh-CN" altLang="en-US"/>
                </a:p>
              </p:txBody>
            </p:sp>
            <p:sp>
              <p:nvSpPr>
                <p:cNvPr id="43" name="任意多边形: 形状 42">
                  <a:extLst>
                    <a:ext uri="{FF2B5EF4-FFF2-40B4-BE49-F238E27FC236}">
                      <a16:creationId xmlns:a16="http://schemas.microsoft.com/office/drawing/2014/main" id="{BB0FE2DD-BE0D-430E-83DF-E4A6DD564639}"/>
                    </a:ext>
                  </a:extLst>
                </p:cNvPr>
                <p:cNvSpPr/>
                <p:nvPr/>
              </p:nvSpPr>
              <p:spPr>
                <a:xfrm>
                  <a:off x="10555483" y="4002944"/>
                  <a:ext cx="113372" cy="113371"/>
                </a:xfrm>
                <a:custGeom>
                  <a:avLst/>
                  <a:gdLst>
                    <a:gd name="connsiteX0" fmla="*/ 86424 w 95250"/>
                    <a:gd name="connsiteY0" fmla="*/ 79757 h 95250"/>
                    <a:gd name="connsiteX1" fmla="*/ 17844 w 95250"/>
                    <a:gd name="connsiteY1" fmla="*/ 86424 h 95250"/>
                    <a:gd name="connsiteX2" fmla="*/ 11177 w 95250"/>
                    <a:gd name="connsiteY2" fmla="*/ 17844 h 95250"/>
                    <a:gd name="connsiteX3" fmla="*/ 79757 w 95250"/>
                    <a:gd name="connsiteY3" fmla="*/ 11177 h 95250"/>
                    <a:gd name="connsiteX4" fmla="*/ 86424 w 95250"/>
                    <a:gd name="connsiteY4" fmla="*/ 79757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6424" y="79757"/>
                      </a:moveTo>
                      <a:cubicBezTo>
                        <a:pt x="69279" y="100712"/>
                        <a:pt x="38799" y="103569"/>
                        <a:pt x="17844" y="86424"/>
                      </a:cubicBezTo>
                      <a:cubicBezTo>
                        <a:pt x="-3111" y="69279"/>
                        <a:pt x="-5968" y="38799"/>
                        <a:pt x="11177" y="17844"/>
                      </a:cubicBezTo>
                      <a:cubicBezTo>
                        <a:pt x="28322" y="-3111"/>
                        <a:pt x="58802" y="-5968"/>
                        <a:pt x="79757" y="11177"/>
                      </a:cubicBezTo>
                      <a:cubicBezTo>
                        <a:pt x="100712" y="28322"/>
                        <a:pt x="103569" y="58802"/>
                        <a:pt x="86424" y="79757"/>
                      </a:cubicBezTo>
                      <a:close/>
                    </a:path>
                  </a:pathLst>
                </a:custGeom>
                <a:grpFill/>
                <a:ln w="9525" cap="flat">
                  <a:noFill/>
                  <a:prstDash val="solid"/>
                  <a:miter/>
                </a:ln>
              </p:spPr>
              <p:txBody>
                <a:bodyPr rtlCol="0" anchor="ctr"/>
                <a:lstStyle/>
                <a:p>
                  <a:endParaRPr lang="zh-CN" altLang="en-US"/>
                </a:p>
              </p:txBody>
            </p:sp>
            <p:sp>
              <p:nvSpPr>
                <p:cNvPr id="45" name="任意多边形: 形状 44">
                  <a:extLst>
                    <a:ext uri="{FF2B5EF4-FFF2-40B4-BE49-F238E27FC236}">
                      <a16:creationId xmlns:a16="http://schemas.microsoft.com/office/drawing/2014/main" id="{60658DF0-A761-4D98-8C81-016A52DB3CCB}"/>
                    </a:ext>
                  </a:extLst>
                </p:cNvPr>
                <p:cNvSpPr/>
                <p:nvPr/>
              </p:nvSpPr>
              <p:spPr>
                <a:xfrm>
                  <a:off x="10513329" y="3721429"/>
                  <a:ext cx="79360" cy="79360"/>
                </a:xfrm>
                <a:custGeom>
                  <a:avLst/>
                  <a:gdLst>
                    <a:gd name="connsiteX0" fmla="*/ 49450 w 66675"/>
                    <a:gd name="connsiteY0" fmla="*/ 64690 h 66675"/>
                    <a:gd name="connsiteX1" fmla="*/ 3730 w 66675"/>
                    <a:gd name="connsiteY1" fmla="*/ 49450 h 66675"/>
                    <a:gd name="connsiteX2" fmla="*/ 18970 w 66675"/>
                    <a:gd name="connsiteY2" fmla="*/ 3730 h 66675"/>
                    <a:gd name="connsiteX3" fmla="*/ 64690 w 66675"/>
                    <a:gd name="connsiteY3" fmla="*/ 18970 h 66675"/>
                    <a:gd name="connsiteX4" fmla="*/ 49450 w 66675"/>
                    <a:gd name="connsiteY4" fmla="*/ 64690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49450" y="64690"/>
                      </a:moveTo>
                      <a:cubicBezTo>
                        <a:pt x="32305" y="73263"/>
                        <a:pt x="12303" y="66595"/>
                        <a:pt x="3730" y="49450"/>
                      </a:cubicBezTo>
                      <a:cubicBezTo>
                        <a:pt x="-4842" y="32305"/>
                        <a:pt x="1825" y="12303"/>
                        <a:pt x="18970" y="3730"/>
                      </a:cubicBezTo>
                      <a:cubicBezTo>
                        <a:pt x="36115" y="-4842"/>
                        <a:pt x="56118" y="1825"/>
                        <a:pt x="64690" y="18970"/>
                      </a:cubicBezTo>
                      <a:cubicBezTo>
                        <a:pt x="73263" y="36115"/>
                        <a:pt x="65643" y="56118"/>
                        <a:pt x="49450" y="64690"/>
                      </a:cubicBezTo>
                      <a:close/>
                    </a:path>
                  </a:pathLst>
                </a:custGeom>
                <a:grpFill/>
                <a:ln w="9525" cap="flat">
                  <a:noFill/>
                  <a:prstDash val="solid"/>
                  <a:miter/>
                </a:ln>
              </p:spPr>
              <p:txBody>
                <a:bodyPr rtlCol="0" anchor="ctr"/>
                <a:lstStyle/>
                <a:p>
                  <a:endParaRPr lang="zh-CN" altLang="en-US"/>
                </a:p>
              </p:txBody>
            </p:sp>
            <p:sp>
              <p:nvSpPr>
                <p:cNvPr id="47" name="任意多边形: 形状 46">
                  <a:extLst>
                    <a:ext uri="{FF2B5EF4-FFF2-40B4-BE49-F238E27FC236}">
                      <a16:creationId xmlns:a16="http://schemas.microsoft.com/office/drawing/2014/main" id="{4781B278-4061-4784-A496-22CDB7EEFD25}"/>
                    </a:ext>
                  </a:extLst>
                </p:cNvPr>
                <p:cNvSpPr/>
                <p:nvPr/>
              </p:nvSpPr>
              <p:spPr>
                <a:xfrm>
                  <a:off x="11042617" y="3599965"/>
                  <a:ext cx="56685" cy="56685"/>
                </a:xfrm>
                <a:custGeom>
                  <a:avLst/>
                  <a:gdLst>
                    <a:gd name="connsiteX0" fmla="*/ 52 w 47625"/>
                    <a:gd name="connsiteY0" fmla="*/ 26722 h 47625"/>
                    <a:gd name="connsiteX1" fmla="*/ 28627 w 47625"/>
                    <a:gd name="connsiteY1" fmla="*/ 52 h 47625"/>
                    <a:gd name="connsiteX2" fmla="*/ 55297 w 47625"/>
                    <a:gd name="connsiteY2" fmla="*/ 28627 h 47625"/>
                    <a:gd name="connsiteX3" fmla="*/ 26722 w 47625"/>
                    <a:gd name="connsiteY3" fmla="*/ 55297 h 47625"/>
                    <a:gd name="connsiteX4" fmla="*/ 52 w 47625"/>
                    <a:gd name="connsiteY4" fmla="*/ 267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2" y="26722"/>
                      </a:moveTo>
                      <a:cubicBezTo>
                        <a:pt x="1004" y="11482"/>
                        <a:pt x="13387" y="-901"/>
                        <a:pt x="28627" y="52"/>
                      </a:cubicBezTo>
                      <a:cubicBezTo>
                        <a:pt x="43867" y="1004"/>
                        <a:pt x="56249" y="13387"/>
                        <a:pt x="55297" y="28627"/>
                      </a:cubicBezTo>
                      <a:cubicBezTo>
                        <a:pt x="54344" y="43867"/>
                        <a:pt x="41962" y="56249"/>
                        <a:pt x="26722" y="55297"/>
                      </a:cubicBezTo>
                      <a:cubicBezTo>
                        <a:pt x="11482" y="54344"/>
                        <a:pt x="-901" y="41962"/>
                        <a:pt x="52" y="26722"/>
                      </a:cubicBezTo>
                      <a:close/>
                    </a:path>
                  </a:pathLst>
                </a:custGeom>
                <a:grpFill/>
                <a:ln w="9525" cap="flat">
                  <a:noFill/>
                  <a:prstDash val="solid"/>
                  <a:miter/>
                </a:ln>
              </p:spPr>
              <p:txBody>
                <a:bodyPr rtlCol="0" anchor="ctr"/>
                <a:lstStyle/>
                <a:p>
                  <a:endParaRPr lang="zh-CN" altLang="en-US"/>
                </a:p>
              </p:txBody>
            </p:sp>
            <p:sp>
              <p:nvSpPr>
                <p:cNvPr id="49" name="任意多边形: 形状 48">
                  <a:extLst>
                    <a:ext uri="{FF2B5EF4-FFF2-40B4-BE49-F238E27FC236}">
                      <a16:creationId xmlns:a16="http://schemas.microsoft.com/office/drawing/2014/main" id="{ED3576D2-A1DA-461F-9456-4165569D116D}"/>
                    </a:ext>
                  </a:extLst>
                </p:cNvPr>
                <p:cNvSpPr/>
                <p:nvPr/>
              </p:nvSpPr>
              <p:spPr>
                <a:xfrm>
                  <a:off x="10802537" y="4176307"/>
                  <a:ext cx="56685" cy="56685"/>
                </a:xfrm>
                <a:custGeom>
                  <a:avLst/>
                  <a:gdLst>
                    <a:gd name="connsiteX0" fmla="*/ 52214 w 47625"/>
                    <a:gd name="connsiteY0" fmla="*/ 14114 h 47625"/>
                    <a:gd name="connsiteX1" fmla="*/ 41737 w 47625"/>
                    <a:gd name="connsiteY1" fmla="*/ 52214 h 47625"/>
                    <a:gd name="connsiteX2" fmla="*/ 3637 w 47625"/>
                    <a:gd name="connsiteY2" fmla="*/ 41737 h 47625"/>
                    <a:gd name="connsiteX3" fmla="*/ 14114 w 47625"/>
                    <a:gd name="connsiteY3" fmla="*/ 3637 h 47625"/>
                    <a:gd name="connsiteX4" fmla="*/ 52214 w 47625"/>
                    <a:gd name="connsiteY4" fmla="*/ 1411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2214" y="14114"/>
                      </a:moveTo>
                      <a:cubicBezTo>
                        <a:pt x="59834" y="27449"/>
                        <a:pt x="55072" y="44594"/>
                        <a:pt x="41737" y="52214"/>
                      </a:cubicBezTo>
                      <a:cubicBezTo>
                        <a:pt x="28402" y="59834"/>
                        <a:pt x="11257" y="55072"/>
                        <a:pt x="3637" y="41737"/>
                      </a:cubicBezTo>
                      <a:cubicBezTo>
                        <a:pt x="-3983" y="28402"/>
                        <a:pt x="779" y="11257"/>
                        <a:pt x="14114" y="3637"/>
                      </a:cubicBezTo>
                      <a:cubicBezTo>
                        <a:pt x="27449" y="-3983"/>
                        <a:pt x="44594" y="779"/>
                        <a:pt x="52214" y="14114"/>
                      </a:cubicBezTo>
                      <a:close/>
                    </a:path>
                  </a:pathLst>
                </a:custGeom>
                <a:grpFill/>
                <a:ln w="9525" cap="flat">
                  <a:noFill/>
                  <a:prstDash val="solid"/>
                  <a:miter/>
                </a:ln>
              </p:spPr>
              <p:txBody>
                <a:bodyPr rtlCol="0" anchor="ctr"/>
                <a:lstStyle/>
                <a:p>
                  <a:endParaRPr lang="zh-CN" altLang="en-US"/>
                </a:p>
              </p:txBody>
            </p:sp>
            <p:sp>
              <p:nvSpPr>
                <p:cNvPr id="51" name="任意多边形: 形状 50">
                  <a:extLst>
                    <a:ext uri="{FF2B5EF4-FFF2-40B4-BE49-F238E27FC236}">
                      <a16:creationId xmlns:a16="http://schemas.microsoft.com/office/drawing/2014/main" id="{3B775EA9-0897-49B9-B0D8-1443528109F8}"/>
                    </a:ext>
                  </a:extLst>
                </p:cNvPr>
                <p:cNvSpPr/>
                <p:nvPr/>
              </p:nvSpPr>
              <p:spPr>
                <a:xfrm>
                  <a:off x="10745646" y="3551278"/>
                  <a:ext cx="113372" cy="113371"/>
                </a:xfrm>
                <a:custGeom>
                  <a:avLst/>
                  <a:gdLst>
                    <a:gd name="connsiteX0" fmla="*/ 0 w 95250"/>
                    <a:gd name="connsiteY0" fmla="*/ 51435 h 95250"/>
                    <a:gd name="connsiteX1" fmla="*/ 51435 w 95250"/>
                    <a:gd name="connsiteY1" fmla="*/ 0 h 95250"/>
                    <a:gd name="connsiteX2" fmla="*/ 102870 w 95250"/>
                    <a:gd name="connsiteY2" fmla="*/ 51435 h 95250"/>
                    <a:gd name="connsiteX3" fmla="*/ 51435 w 95250"/>
                    <a:gd name="connsiteY3" fmla="*/ 102870 h 95250"/>
                    <a:gd name="connsiteX4" fmla="*/ 0 w 95250"/>
                    <a:gd name="connsiteY4" fmla="*/ 51435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0" y="51435"/>
                      </a:moveTo>
                      <a:cubicBezTo>
                        <a:pt x="0" y="22860"/>
                        <a:pt x="22860" y="0"/>
                        <a:pt x="51435" y="0"/>
                      </a:cubicBezTo>
                      <a:cubicBezTo>
                        <a:pt x="80010" y="0"/>
                        <a:pt x="102870" y="22860"/>
                        <a:pt x="102870" y="51435"/>
                      </a:cubicBezTo>
                      <a:cubicBezTo>
                        <a:pt x="102870" y="80010"/>
                        <a:pt x="80010" y="102870"/>
                        <a:pt x="51435" y="102870"/>
                      </a:cubicBezTo>
                      <a:cubicBezTo>
                        <a:pt x="22860" y="102870"/>
                        <a:pt x="0" y="80010"/>
                        <a:pt x="0" y="51435"/>
                      </a:cubicBezTo>
                      <a:close/>
                    </a:path>
                  </a:pathLst>
                </a:custGeom>
                <a:grpFill/>
                <a:ln w="9525" cap="flat">
                  <a:noFill/>
                  <a:prstDash val="solid"/>
                  <a:miter/>
                </a:ln>
              </p:spPr>
              <p:txBody>
                <a:bodyPr rtlCol="0" anchor="ctr"/>
                <a:lstStyle/>
                <a:p>
                  <a:endParaRPr lang="zh-CN" altLang="en-US"/>
                </a:p>
              </p:txBody>
            </p:sp>
            <p:sp>
              <p:nvSpPr>
                <p:cNvPr id="53" name="任意多边形: 形状 52">
                  <a:extLst>
                    <a:ext uri="{FF2B5EF4-FFF2-40B4-BE49-F238E27FC236}">
                      <a16:creationId xmlns:a16="http://schemas.microsoft.com/office/drawing/2014/main" id="{1D1E4FAF-D629-4BAC-9C8A-8C6B7D664808}"/>
                    </a:ext>
                  </a:extLst>
                </p:cNvPr>
                <p:cNvSpPr/>
                <p:nvPr/>
              </p:nvSpPr>
              <p:spPr>
                <a:xfrm>
                  <a:off x="10836273" y="3848241"/>
                  <a:ext cx="124709" cy="124709"/>
                </a:xfrm>
                <a:custGeom>
                  <a:avLst/>
                  <a:gdLst>
                    <a:gd name="connsiteX0" fmla="*/ 65781 w 104775"/>
                    <a:gd name="connsiteY0" fmla="*/ 1011 h 104775"/>
                    <a:gd name="connsiteX1" fmla="*/ 109596 w 104775"/>
                    <a:gd name="connsiteY1" fmla="*/ 65781 h 104775"/>
                    <a:gd name="connsiteX2" fmla="*/ 44826 w 104775"/>
                    <a:gd name="connsiteY2" fmla="*/ 109596 h 104775"/>
                    <a:gd name="connsiteX3" fmla="*/ 1011 w 104775"/>
                    <a:gd name="connsiteY3" fmla="*/ 44826 h 104775"/>
                    <a:gd name="connsiteX4" fmla="*/ 65781 w 104775"/>
                    <a:gd name="connsiteY4" fmla="*/ 1011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65781" y="1011"/>
                      </a:moveTo>
                      <a:cubicBezTo>
                        <a:pt x="96261" y="6726"/>
                        <a:pt x="115311" y="36253"/>
                        <a:pt x="109596" y="65781"/>
                      </a:cubicBezTo>
                      <a:cubicBezTo>
                        <a:pt x="103881" y="96261"/>
                        <a:pt x="74353" y="115311"/>
                        <a:pt x="44826" y="109596"/>
                      </a:cubicBezTo>
                      <a:cubicBezTo>
                        <a:pt x="14346" y="103881"/>
                        <a:pt x="-4704" y="74353"/>
                        <a:pt x="1011" y="44826"/>
                      </a:cubicBezTo>
                      <a:cubicBezTo>
                        <a:pt x="6726" y="14346"/>
                        <a:pt x="35301" y="-4704"/>
                        <a:pt x="65781" y="1011"/>
                      </a:cubicBezTo>
                      <a:close/>
                    </a:path>
                  </a:pathLst>
                </a:custGeom>
                <a:grpFill/>
                <a:ln w="9525" cap="flat">
                  <a:noFill/>
                  <a:prstDash val="solid"/>
                  <a:miter/>
                </a:ln>
              </p:spPr>
              <p:txBody>
                <a:bodyPr rtlCol="0" anchor="ctr"/>
                <a:lstStyle/>
                <a:p>
                  <a:endParaRPr lang="zh-CN" altLang="en-US"/>
                </a:p>
              </p:txBody>
            </p:sp>
          </p:grpSp>
        </p:grpSp>
        <p:sp>
          <p:nvSpPr>
            <p:cNvPr id="33" name="任意多边形: 形状 32">
              <a:extLst>
                <a:ext uri="{FF2B5EF4-FFF2-40B4-BE49-F238E27FC236}">
                  <a16:creationId xmlns:a16="http://schemas.microsoft.com/office/drawing/2014/main" id="{4C14CA48-B8A5-4BBE-BD75-5B96ADBE52A2}"/>
                </a:ext>
              </a:extLst>
            </p:cNvPr>
            <p:cNvSpPr/>
            <p:nvPr userDrawn="1"/>
          </p:nvSpPr>
          <p:spPr>
            <a:xfrm>
              <a:off x="9037954" y="3169362"/>
              <a:ext cx="77524" cy="77524"/>
            </a:xfrm>
            <a:custGeom>
              <a:avLst/>
              <a:gdLst>
                <a:gd name="connsiteX0" fmla="*/ 48577 w 47625"/>
                <a:gd name="connsiteY0" fmla="*/ 21908 h 47625"/>
                <a:gd name="connsiteX1" fmla="*/ 40957 w 47625"/>
                <a:gd name="connsiteY1" fmla="*/ 20955 h 47625"/>
                <a:gd name="connsiteX2" fmla="*/ 30480 w 47625"/>
                <a:gd name="connsiteY2" fmla="*/ 10478 h 47625"/>
                <a:gd name="connsiteX3" fmla="*/ 29527 w 47625"/>
                <a:gd name="connsiteY3" fmla="*/ 2858 h 47625"/>
                <a:gd name="connsiteX4" fmla="*/ 21907 w 47625"/>
                <a:gd name="connsiteY4" fmla="*/ 2858 h 47625"/>
                <a:gd name="connsiteX5" fmla="*/ 20955 w 47625"/>
                <a:gd name="connsiteY5" fmla="*/ 10478 h 47625"/>
                <a:gd name="connsiteX6" fmla="*/ 10477 w 47625"/>
                <a:gd name="connsiteY6" fmla="*/ 20955 h 47625"/>
                <a:gd name="connsiteX7" fmla="*/ 2857 w 47625"/>
                <a:gd name="connsiteY7" fmla="*/ 21908 h 47625"/>
                <a:gd name="connsiteX8" fmla="*/ 2857 w 47625"/>
                <a:gd name="connsiteY8" fmla="*/ 29528 h 47625"/>
                <a:gd name="connsiteX9" fmla="*/ 10477 w 47625"/>
                <a:gd name="connsiteY9" fmla="*/ 30480 h 47625"/>
                <a:gd name="connsiteX10" fmla="*/ 20955 w 47625"/>
                <a:gd name="connsiteY10" fmla="*/ 40958 h 47625"/>
                <a:gd name="connsiteX11" fmla="*/ 21907 w 47625"/>
                <a:gd name="connsiteY11" fmla="*/ 48578 h 47625"/>
                <a:gd name="connsiteX12" fmla="*/ 29527 w 47625"/>
                <a:gd name="connsiteY12" fmla="*/ 48578 h 47625"/>
                <a:gd name="connsiteX13" fmla="*/ 30480 w 47625"/>
                <a:gd name="connsiteY13" fmla="*/ 40958 h 47625"/>
                <a:gd name="connsiteX14" fmla="*/ 40957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7" y="20955"/>
                  </a:lnTo>
                  <a:cubicBezTo>
                    <a:pt x="36195" y="20003"/>
                    <a:pt x="31432" y="16193"/>
                    <a:pt x="30480" y="10478"/>
                  </a:cubicBezTo>
                  <a:lnTo>
                    <a:pt x="29527" y="2858"/>
                  </a:lnTo>
                  <a:cubicBezTo>
                    <a:pt x="28575" y="-953"/>
                    <a:pt x="22860" y="-953"/>
                    <a:pt x="21907" y="2858"/>
                  </a:cubicBezTo>
                  <a:lnTo>
                    <a:pt x="20955" y="10478"/>
                  </a:lnTo>
                  <a:cubicBezTo>
                    <a:pt x="20002" y="15240"/>
                    <a:pt x="16192" y="20003"/>
                    <a:pt x="10477" y="20955"/>
                  </a:cubicBezTo>
                  <a:lnTo>
                    <a:pt x="2857" y="21908"/>
                  </a:lnTo>
                  <a:cubicBezTo>
                    <a:pt x="-952" y="22860"/>
                    <a:pt x="-952" y="28575"/>
                    <a:pt x="2857" y="29528"/>
                  </a:cubicBezTo>
                  <a:lnTo>
                    <a:pt x="10477" y="30480"/>
                  </a:lnTo>
                  <a:cubicBezTo>
                    <a:pt x="15240" y="31433"/>
                    <a:pt x="20002" y="35243"/>
                    <a:pt x="20955" y="40958"/>
                  </a:cubicBezTo>
                  <a:lnTo>
                    <a:pt x="21907" y="48578"/>
                  </a:lnTo>
                  <a:cubicBezTo>
                    <a:pt x="22860" y="52388"/>
                    <a:pt x="28575" y="52388"/>
                    <a:pt x="29527" y="48578"/>
                  </a:cubicBezTo>
                  <a:lnTo>
                    <a:pt x="30480" y="40958"/>
                  </a:lnTo>
                  <a:cubicBezTo>
                    <a:pt x="31432" y="36195"/>
                    <a:pt x="35242" y="31433"/>
                    <a:pt x="40957" y="30480"/>
                  </a:cubicBezTo>
                  <a:lnTo>
                    <a:pt x="48577" y="29528"/>
                  </a:lnTo>
                  <a:cubicBezTo>
                    <a:pt x="53340" y="28575"/>
                    <a:pt x="53340" y="21908"/>
                    <a:pt x="48577" y="21908"/>
                  </a:cubicBezTo>
                  <a:close/>
                </a:path>
              </a:pathLst>
            </a:custGeom>
            <a:solidFill>
              <a:schemeClr val="bg1"/>
            </a:solidFill>
            <a:ln w="9525" cap="flat">
              <a:noFill/>
              <a:prstDash val="solid"/>
              <a:miter/>
            </a:ln>
            <a:effectLst/>
          </p:spPr>
          <p:txBody>
            <a:bodyPr rtlCol="0" anchor="ctr"/>
            <a:lstStyle/>
            <a:p>
              <a:endParaRPr lang="zh-CN" altLang="en-US"/>
            </a:p>
          </p:txBody>
        </p:sp>
        <p:sp>
          <p:nvSpPr>
            <p:cNvPr id="69" name="任意多边形: 形状 68">
              <a:extLst>
                <a:ext uri="{FF2B5EF4-FFF2-40B4-BE49-F238E27FC236}">
                  <a16:creationId xmlns:a16="http://schemas.microsoft.com/office/drawing/2014/main" id="{8139F5BB-6788-48D7-9958-038CED9DA1AA}"/>
                </a:ext>
              </a:extLst>
            </p:cNvPr>
            <p:cNvSpPr/>
            <p:nvPr userDrawn="1"/>
          </p:nvSpPr>
          <p:spPr>
            <a:xfrm>
              <a:off x="7755479" y="3393583"/>
              <a:ext cx="939539" cy="939536"/>
            </a:xfrm>
            <a:custGeom>
              <a:avLst/>
              <a:gdLst>
                <a:gd name="connsiteX0" fmla="*/ 501958 w 939539"/>
                <a:gd name="connsiteY0" fmla="*/ 1111 h 939536"/>
                <a:gd name="connsiteX1" fmla="*/ 823921 w 939539"/>
                <a:gd name="connsiteY1" fmla="*/ 161137 h 939536"/>
                <a:gd name="connsiteX2" fmla="*/ 778402 w 939539"/>
                <a:gd name="connsiteY2" fmla="*/ 823920 h 939536"/>
                <a:gd name="connsiteX3" fmla="*/ 115619 w 939539"/>
                <a:gd name="connsiteY3" fmla="*/ 778400 h 939536"/>
                <a:gd name="connsiteX4" fmla="*/ 161139 w 939539"/>
                <a:gd name="connsiteY4" fmla="*/ 115617 h 939536"/>
                <a:gd name="connsiteX5" fmla="*/ 501958 w 939539"/>
                <a:gd name="connsiteY5" fmla="*/ 1111 h 9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9539" h="939536">
                  <a:moveTo>
                    <a:pt x="501958" y="1111"/>
                  </a:moveTo>
                  <a:cubicBezTo>
                    <a:pt x="621898" y="9348"/>
                    <a:pt x="738695" y="63341"/>
                    <a:pt x="823921" y="161137"/>
                  </a:cubicBezTo>
                  <a:cubicBezTo>
                    <a:pt x="994374" y="356730"/>
                    <a:pt x="973994" y="653468"/>
                    <a:pt x="778402" y="823920"/>
                  </a:cubicBezTo>
                  <a:cubicBezTo>
                    <a:pt x="582810" y="994371"/>
                    <a:pt x="286072" y="973992"/>
                    <a:pt x="115619" y="778400"/>
                  </a:cubicBezTo>
                  <a:cubicBezTo>
                    <a:pt x="-54834" y="582808"/>
                    <a:pt x="-34454" y="286070"/>
                    <a:pt x="161139" y="115617"/>
                  </a:cubicBezTo>
                  <a:cubicBezTo>
                    <a:pt x="258935" y="30391"/>
                    <a:pt x="382018" y="-7127"/>
                    <a:pt x="501958" y="1111"/>
                  </a:cubicBezTo>
                  <a:close/>
                </a:path>
              </a:pathLst>
            </a:custGeom>
            <a:solidFill>
              <a:schemeClr val="tx2">
                <a:lumMod val="40000"/>
                <a:lumOff val="60000"/>
              </a:schemeClr>
            </a:solidFill>
            <a:ln w="11657" cap="flat">
              <a:noFill/>
              <a:prstDash val="solid"/>
              <a:miter/>
            </a:ln>
            <a:effectLst/>
          </p:spPr>
          <p:txBody>
            <a:bodyPr wrap="square" rtlCol="0" anchor="ctr">
              <a:noAutofit/>
            </a:bodyPr>
            <a:lstStyle/>
            <a:p>
              <a:endParaRPr lang="zh-CN" altLang="en-US"/>
            </a:p>
          </p:txBody>
        </p:sp>
        <p:sp>
          <p:nvSpPr>
            <p:cNvPr id="59" name="任意多边形: 形状 58">
              <a:extLst>
                <a:ext uri="{FF2B5EF4-FFF2-40B4-BE49-F238E27FC236}">
                  <a16:creationId xmlns:a16="http://schemas.microsoft.com/office/drawing/2014/main" id="{9095EAB7-2205-471F-BA38-61564FD4B22B}"/>
                </a:ext>
              </a:extLst>
            </p:cNvPr>
            <p:cNvSpPr/>
            <p:nvPr/>
          </p:nvSpPr>
          <p:spPr>
            <a:xfrm>
              <a:off x="7816188" y="3394000"/>
              <a:ext cx="868461" cy="934254"/>
            </a:xfrm>
            <a:custGeom>
              <a:avLst/>
              <a:gdLst>
                <a:gd name="connsiteX0" fmla="*/ 778726 w 774035"/>
                <a:gd name="connsiteY0" fmla="*/ 479473 h 832674"/>
                <a:gd name="connsiteX1" fmla="*/ 424547 w 774035"/>
                <a:gd name="connsiteY1" fmla="*/ 4497 h 832674"/>
                <a:gd name="connsiteX2" fmla="*/ 39875 w 774035"/>
                <a:gd name="connsiteY2" fmla="*/ 154613 h 832674"/>
                <a:gd name="connsiteX3" fmla="*/ 55121 w 774035"/>
                <a:gd name="connsiteY3" fmla="*/ 214425 h 832674"/>
                <a:gd name="connsiteX4" fmla="*/ 123142 w 774035"/>
                <a:gd name="connsiteY4" fmla="*/ 266027 h 832674"/>
                <a:gd name="connsiteX5" fmla="*/ 372944 w 774035"/>
                <a:gd name="connsiteY5" fmla="*/ 294174 h 832674"/>
                <a:gd name="connsiteX6" fmla="*/ 565280 w 774035"/>
                <a:gd name="connsiteY6" fmla="*/ 377442 h 832674"/>
                <a:gd name="connsiteX7" fmla="*/ 650893 w 774035"/>
                <a:gd name="connsiteY7" fmla="*/ 565086 h 832674"/>
                <a:gd name="connsiteX8" fmla="*/ 542997 w 774035"/>
                <a:gd name="connsiteY8" fmla="*/ 736312 h 832674"/>
                <a:gd name="connsiteX9" fmla="*/ 431583 w 774035"/>
                <a:gd name="connsiteY9" fmla="*/ 753904 h 832674"/>
                <a:gd name="connsiteX10" fmla="*/ 31665 w 774035"/>
                <a:gd name="connsiteY10" fmla="*/ 627244 h 832674"/>
                <a:gd name="connsiteX11" fmla="*/ 0 w 774035"/>
                <a:gd name="connsiteY11" fmla="*/ 622553 h 832674"/>
                <a:gd name="connsiteX12" fmla="*/ 304923 w 774035"/>
                <a:gd name="connsiteY12" fmla="*/ 833653 h 832674"/>
                <a:gd name="connsiteX13" fmla="*/ 778726 w 774035"/>
                <a:gd name="connsiteY13" fmla="*/ 479473 h 83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035" h="832674">
                  <a:moveTo>
                    <a:pt x="778726" y="479473"/>
                  </a:moveTo>
                  <a:cubicBezTo>
                    <a:pt x="811564" y="250781"/>
                    <a:pt x="653239" y="38508"/>
                    <a:pt x="424547" y="4497"/>
                  </a:cubicBezTo>
                  <a:cubicBezTo>
                    <a:pt x="273258" y="-17785"/>
                    <a:pt x="130179" y="44372"/>
                    <a:pt x="39875" y="154613"/>
                  </a:cubicBezTo>
                  <a:cubicBezTo>
                    <a:pt x="39875" y="175723"/>
                    <a:pt x="43393" y="196833"/>
                    <a:pt x="55121" y="214425"/>
                  </a:cubicBezTo>
                  <a:cubicBezTo>
                    <a:pt x="70367" y="239053"/>
                    <a:pt x="96168" y="255472"/>
                    <a:pt x="123142" y="266027"/>
                  </a:cubicBezTo>
                  <a:cubicBezTo>
                    <a:pt x="201718" y="296520"/>
                    <a:pt x="289677" y="283619"/>
                    <a:pt x="372944" y="294174"/>
                  </a:cubicBezTo>
                  <a:cubicBezTo>
                    <a:pt x="443311" y="303556"/>
                    <a:pt x="512505" y="329358"/>
                    <a:pt x="565280" y="377442"/>
                  </a:cubicBezTo>
                  <a:cubicBezTo>
                    <a:pt x="618055" y="424353"/>
                    <a:pt x="653239" y="494720"/>
                    <a:pt x="650893" y="565086"/>
                  </a:cubicBezTo>
                  <a:cubicBezTo>
                    <a:pt x="648548" y="636626"/>
                    <a:pt x="607500" y="706993"/>
                    <a:pt x="542997" y="736312"/>
                  </a:cubicBezTo>
                  <a:cubicBezTo>
                    <a:pt x="507814" y="751558"/>
                    <a:pt x="469112" y="756250"/>
                    <a:pt x="431583" y="753904"/>
                  </a:cubicBezTo>
                  <a:cubicBezTo>
                    <a:pt x="290850" y="744522"/>
                    <a:pt x="168880" y="656563"/>
                    <a:pt x="31665" y="627244"/>
                  </a:cubicBezTo>
                  <a:cubicBezTo>
                    <a:pt x="21110" y="624898"/>
                    <a:pt x="10555" y="623725"/>
                    <a:pt x="0" y="622553"/>
                  </a:cubicBezTo>
                  <a:cubicBezTo>
                    <a:pt x="60985" y="732794"/>
                    <a:pt x="171226" y="813716"/>
                    <a:pt x="304923" y="833653"/>
                  </a:cubicBezTo>
                  <a:cubicBezTo>
                    <a:pt x="532442" y="866491"/>
                    <a:pt x="745888" y="708166"/>
                    <a:pt x="778726" y="479473"/>
                  </a:cubicBezTo>
                  <a:close/>
                </a:path>
              </a:pathLst>
            </a:custGeom>
            <a:solidFill>
              <a:schemeClr val="tx2">
                <a:lumMod val="20000"/>
                <a:lumOff val="80000"/>
              </a:schemeClr>
            </a:solidFill>
            <a:ln w="11657" cap="flat">
              <a:noFill/>
              <a:prstDash val="solid"/>
              <a:miter/>
            </a:ln>
          </p:spPr>
          <p:txBody>
            <a:bodyPr rtlCol="0" anchor="ctr"/>
            <a:lstStyle/>
            <a:p>
              <a:endParaRPr lang="zh-CN" altLang="en-US"/>
            </a:p>
          </p:txBody>
        </p:sp>
        <p:sp>
          <p:nvSpPr>
            <p:cNvPr id="60" name="任意多边形: 形状 59">
              <a:extLst>
                <a:ext uri="{FF2B5EF4-FFF2-40B4-BE49-F238E27FC236}">
                  <a16:creationId xmlns:a16="http://schemas.microsoft.com/office/drawing/2014/main" id="{838B530D-E274-4AD0-BEB0-823A90D5DDB3}"/>
                </a:ext>
              </a:extLst>
            </p:cNvPr>
            <p:cNvSpPr/>
            <p:nvPr/>
          </p:nvSpPr>
          <p:spPr>
            <a:xfrm>
              <a:off x="7965203" y="3393869"/>
              <a:ext cx="710560" cy="355280"/>
            </a:xfrm>
            <a:custGeom>
              <a:avLst/>
              <a:gdLst>
                <a:gd name="connsiteX0" fmla="*/ 292022 w 633301"/>
                <a:gd name="connsiteY0" fmla="*/ 4325 h 316650"/>
                <a:gd name="connsiteX1" fmla="*/ 0 w 633301"/>
                <a:gd name="connsiteY1" fmla="*/ 70001 h 316650"/>
                <a:gd name="connsiteX2" fmla="*/ 34011 w 633301"/>
                <a:gd name="connsiteY2" fmla="*/ 123949 h 316650"/>
                <a:gd name="connsiteX3" fmla="*/ 194682 w 633301"/>
                <a:gd name="connsiteY3" fmla="*/ 208389 h 316650"/>
                <a:gd name="connsiteX4" fmla="*/ 299059 w 633301"/>
                <a:gd name="connsiteY4" fmla="*/ 188452 h 316650"/>
                <a:gd name="connsiteX5" fmla="*/ 627438 w 633301"/>
                <a:gd name="connsiteY5" fmla="*/ 303384 h 316650"/>
                <a:gd name="connsiteX6" fmla="*/ 641511 w 633301"/>
                <a:gd name="connsiteY6" fmla="*/ 326840 h 316650"/>
                <a:gd name="connsiteX7" fmla="*/ 292022 w 633301"/>
                <a:gd name="connsiteY7" fmla="*/ 4325 h 3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301" h="316650">
                  <a:moveTo>
                    <a:pt x="292022" y="4325"/>
                  </a:moveTo>
                  <a:cubicBezTo>
                    <a:pt x="186472" y="-10921"/>
                    <a:pt x="83267" y="14880"/>
                    <a:pt x="0" y="70001"/>
                  </a:cubicBezTo>
                  <a:cubicBezTo>
                    <a:pt x="9382" y="88766"/>
                    <a:pt x="21110" y="107530"/>
                    <a:pt x="34011" y="123949"/>
                  </a:cubicBezTo>
                  <a:cubicBezTo>
                    <a:pt x="72712" y="173206"/>
                    <a:pt x="132524" y="209562"/>
                    <a:pt x="194682" y="208389"/>
                  </a:cubicBezTo>
                  <a:cubicBezTo>
                    <a:pt x="229865" y="208389"/>
                    <a:pt x="263876" y="196661"/>
                    <a:pt x="299059" y="188452"/>
                  </a:cubicBezTo>
                  <a:cubicBezTo>
                    <a:pt x="419855" y="162651"/>
                    <a:pt x="560589" y="200180"/>
                    <a:pt x="627438" y="303384"/>
                  </a:cubicBezTo>
                  <a:cubicBezTo>
                    <a:pt x="632129" y="310421"/>
                    <a:pt x="636820" y="318631"/>
                    <a:pt x="641511" y="326840"/>
                  </a:cubicBezTo>
                  <a:cubicBezTo>
                    <a:pt x="603982" y="162651"/>
                    <a:pt x="469112" y="30127"/>
                    <a:pt x="292022" y="4325"/>
                  </a:cubicBezTo>
                  <a:close/>
                </a:path>
              </a:pathLst>
            </a:custGeom>
            <a:solidFill>
              <a:schemeClr val="tx2">
                <a:lumMod val="40000"/>
                <a:lumOff val="60000"/>
              </a:schemeClr>
            </a:solidFill>
            <a:ln w="11657" cap="flat">
              <a:noFill/>
              <a:prstDash val="solid"/>
              <a:miter/>
            </a:ln>
          </p:spPr>
          <p:txBody>
            <a:bodyPr rtlCol="0" anchor="ctr"/>
            <a:lstStyle/>
            <a:p>
              <a:endParaRPr lang="zh-CN" altLang="en-US"/>
            </a:p>
          </p:txBody>
        </p:sp>
        <p:sp>
          <p:nvSpPr>
            <p:cNvPr id="61" name="任意多边形: 形状 60">
              <a:extLst>
                <a:ext uri="{FF2B5EF4-FFF2-40B4-BE49-F238E27FC236}">
                  <a16:creationId xmlns:a16="http://schemas.microsoft.com/office/drawing/2014/main" id="{90223E81-C633-41E1-863C-98897D66C169}"/>
                </a:ext>
              </a:extLst>
            </p:cNvPr>
            <p:cNvSpPr/>
            <p:nvPr/>
          </p:nvSpPr>
          <p:spPr>
            <a:xfrm>
              <a:off x="7340600" y="3656953"/>
              <a:ext cx="1750081" cy="473706"/>
            </a:xfrm>
            <a:custGeom>
              <a:avLst/>
              <a:gdLst>
                <a:gd name="connsiteX0" fmla="*/ 1250688 w 1559798"/>
                <a:gd name="connsiteY0" fmla="*/ 132524 h 422200"/>
                <a:gd name="connsiteX1" fmla="*/ 1201432 w 1559798"/>
                <a:gd name="connsiteY1" fmla="*/ 114932 h 422200"/>
                <a:gd name="connsiteX2" fmla="*/ 1204950 w 1559798"/>
                <a:gd name="connsiteY2" fmla="*/ 228692 h 422200"/>
                <a:gd name="connsiteX3" fmla="*/ 1335129 w 1559798"/>
                <a:gd name="connsiteY3" fmla="*/ 294368 h 422200"/>
                <a:gd name="connsiteX4" fmla="*/ 1167421 w 1559798"/>
                <a:gd name="connsiteY4" fmla="*/ 321342 h 422200"/>
                <a:gd name="connsiteX5" fmla="*/ 772194 w 1559798"/>
                <a:gd name="connsiteY5" fmla="*/ 296713 h 422200"/>
                <a:gd name="connsiteX6" fmla="*/ 386349 w 1559798"/>
                <a:gd name="connsiteY6" fmla="*/ 207582 h 422200"/>
                <a:gd name="connsiteX7" fmla="*/ 233888 w 1559798"/>
                <a:gd name="connsiteY7" fmla="*/ 133697 h 422200"/>
                <a:gd name="connsiteX8" fmla="*/ 378140 w 1559798"/>
                <a:gd name="connsiteY8" fmla="*/ 107896 h 422200"/>
                <a:gd name="connsiteX9" fmla="*/ 413323 w 1559798"/>
                <a:gd name="connsiteY9" fmla="*/ 0 h 422200"/>
                <a:gd name="connsiteX10" fmla="*/ 361721 w 1559798"/>
                <a:gd name="connsiteY10" fmla="*/ 2346 h 422200"/>
                <a:gd name="connsiteX11" fmla="*/ 504 w 1559798"/>
                <a:gd name="connsiteY11" fmla="*/ 100859 h 422200"/>
                <a:gd name="connsiteX12" fmla="*/ 317155 w 1559798"/>
                <a:gd name="connsiteY12" fmla="*/ 297886 h 422200"/>
                <a:gd name="connsiteX13" fmla="*/ 755775 w 1559798"/>
                <a:gd name="connsiteY13" fmla="*/ 403436 h 422200"/>
                <a:gd name="connsiteX14" fmla="*/ 1206123 w 1559798"/>
                <a:gd name="connsiteY14" fmla="*/ 428065 h 422200"/>
                <a:gd name="connsiteX15" fmla="*/ 1566166 w 1559798"/>
                <a:gd name="connsiteY15" fmla="*/ 330724 h 422200"/>
                <a:gd name="connsiteX16" fmla="*/ 1250688 w 1559798"/>
                <a:gd name="connsiteY16" fmla="*/ 132524 h 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9798" h="422200">
                  <a:moveTo>
                    <a:pt x="1250688" y="132524"/>
                  </a:moveTo>
                  <a:cubicBezTo>
                    <a:pt x="1235442" y="126660"/>
                    <a:pt x="1219023" y="120796"/>
                    <a:pt x="1201432" y="114932"/>
                  </a:cubicBezTo>
                  <a:cubicBezTo>
                    <a:pt x="1207296" y="151289"/>
                    <a:pt x="1208468" y="189990"/>
                    <a:pt x="1204950" y="228692"/>
                  </a:cubicBezTo>
                  <a:cubicBezTo>
                    <a:pt x="1280008" y="256839"/>
                    <a:pt x="1318710" y="280295"/>
                    <a:pt x="1335129" y="294368"/>
                  </a:cubicBezTo>
                  <a:cubicBezTo>
                    <a:pt x="1312846" y="303750"/>
                    <a:pt x="1263589" y="317823"/>
                    <a:pt x="1167421" y="321342"/>
                  </a:cubicBezTo>
                  <a:cubicBezTo>
                    <a:pt x="1056007" y="327206"/>
                    <a:pt x="915273" y="317823"/>
                    <a:pt x="772194" y="296713"/>
                  </a:cubicBezTo>
                  <a:cubicBezTo>
                    <a:pt x="627942" y="275603"/>
                    <a:pt x="490727" y="243938"/>
                    <a:pt x="386349" y="207582"/>
                  </a:cubicBezTo>
                  <a:cubicBezTo>
                    <a:pt x="296045" y="175917"/>
                    <a:pt x="251479" y="148943"/>
                    <a:pt x="233888" y="133697"/>
                  </a:cubicBezTo>
                  <a:cubicBezTo>
                    <a:pt x="253825" y="124315"/>
                    <a:pt x="297218" y="112587"/>
                    <a:pt x="378140" y="107896"/>
                  </a:cubicBezTo>
                  <a:cubicBezTo>
                    <a:pt x="385176" y="69194"/>
                    <a:pt x="396904" y="32838"/>
                    <a:pt x="413323" y="0"/>
                  </a:cubicBezTo>
                  <a:cubicBezTo>
                    <a:pt x="395731" y="0"/>
                    <a:pt x="378140" y="1173"/>
                    <a:pt x="361721" y="2346"/>
                  </a:cubicBezTo>
                  <a:cubicBezTo>
                    <a:pt x="263207" y="9382"/>
                    <a:pt x="13405" y="11728"/>
                    <a:pt x="504" y="100859"/>
                  </a:cubicBezTo>
                  <a:cubicBezTo>
                    <a:pt x="-12396" y="188818"/>
                    <a:pt x="225678" y="262703"/>
                    <a:pt x="317155" y="297886"/>
                  </a:cubicBezTo>
                  <a:cubicBezTo>
                    <a:pt x="433260" y="341279"/>
                    <a:pt x="588067" y="378808"/>
                    <a:pt x="755775" y="403436"/>
                  </a:cubicBezTo>
                  <a:cubicBezTo>
                    <a:pt x="923483" y="428065"/>
                    <a:pt x="1082981" y="436274"/>
                    <a:pt x="1206123" y="428065"/>
                  </a:cubicBezTo>
                  <a:cubicBezTo>
                    <a:pt x="1303464" y="421028"/>
                    <a:pt x="1553266" y="418683"/>
                    <a:pt x="1566166" y="330724"/>
                  </a:cubicBezTo>
                  <a:cubicBezTo>
                    <a:pt x="1580240" y="240420"/>
                    <a:pt x="1342165" y="167708"/>
                    <a:pt x="1250688" y="132524"/>
                  </a:cubicBezTo>
                  <a:close/>
                </a:path>
              </a:pathLst>
            </a:custGeom>
            <a:solidFill>
              <a:schemeClr val="tx2">
                <a:lumMod val="40000"/>
                <a:lumOff val="60000"/>
                <a:alpha val="68000"/>
              </a:schemeClr>
            </a:solidFill>
            <a:ln w="11657" cap="flat">
              <a:noFill/>
              <a:prstDash val="solid"/>
              <a:miter/>
            </a:ln>
          </p:spPr>
          <p:txBody>
            <a:bodyPr rtlCol="0" anchor="ctr"/>
            <a:lstStyle/>
            <a:p>
              <a:endParaRPr lang="zh-CN" altLang="en-US"/>
            </a:p>
          </p:txBody>
        </p:sp>
        <p:sp>
          <p:nvSpPr>
            <p:cNvPr id="62" name="任意多边形: 形状 61">
              <a:extLst>
                <a:ext uri="{FF2B5EF4-FFF2-40B4-BE49-F238E27FC236}">
                  <a16:creationId xmlns:a16="http://schemas.microsoft.com/office/drawing/2014/main" id="{D19B8A68-AB73-4F6A-8BF2-44A2D2AC9F82}"/>
                </a:ext>
              </a:extLst>
            </p:cNvPr>
            <p:cNvSpPr/>
            <p:nvPr/>
          </p:nvSpPr>
          <p:spPr>
            <a:xfrm>
              <a:off x="7341915" y="3721429"/>
              <a:ext cx="1750081" cy="407914"/>
            </a:xfrm>
            <a:custGeom>
              <a:avLst/>
              <a:gdLst>
                <a:gd name="connsiteX0" fmla="*/ 1548575 w 1559798"/>
                <a:gd name="connsiteY0" fmla="*/ 222828 h 363561"/>
                <a:gd name="connsiteX1" fmla="*/ 1548575 w 1559798"/>
                <a:gd name="connsiteY1" fmla="*/ 227519 h 363561"/>
                <a:gd name="connsiteX2" fmla="*/ 1200259 w 1559798"/>
                <a:gd name="connsiteY2" fmla="*/ 322515 h 363561"/>
                <a:gd name="connsiteX3" fmla="*/ 762812 w 1559798"/>
                <a:gd name="connsiteY3" fmla="*/ 299059 h 363561"/>
                <a:gd name="connsiteX4" fmla="*/ 337092 w 1559798"/>
                <a:gd name="connsiteY4" fmla="*/ 195854 h 363561"/>
                <a:gd name="connsiteX5" fmla="*/ 29824 w 1559798"/>
                <a:gd name="connsiteY5" fmla="*/ 4691 h 363561"/>
                <a:gd name="connsiteX6" fmla="*/ 30997 w 1559798"/>
                <a:gd name="connsiteY6" fmla="*/ 0 h 363561"/>
                <a:gd name="connsiteX7" fmla="*/ 504 w 1559798"/>
                <a:gd name="connsiteY7" fmla="*/ 42220 h 363561"/>
                <a:gd name="connsiteX8" fmla="*/ 317155 w 1559798"/>
                <a:gd name="connsiteY8" fmla="*/ 239247 h 363561"/>
                <a:gd name="connsiteX9" fmla="*/ 755775 w 1559798"/>
                <a:gd name="connsiteY9" fmla="*/ 344797 h 363561"/>
                <a:gd name="connsiteX10" fmla="*/ 1206123 w 1559798"/>
                <a:gd name="connsiteY10" fmla="*/ 369426 h 363561"/>
                <a:gd name="connsiteX11" fmla="*/ 1566167 w 1559798"/>
                <a:gd name="connsiteY11" fmla="*/ 272085 h 363561"/>
                <a:gd name="connsiteX12" fmla="*/ 1548575 w 1559798"/>
                <a:gd name="connsiteY12" fmla="*/ 222828 h 36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798" h="363561">
                  <a:moveTo>
                    <a:pt x="1548575" y="222828"/>
                  </a:moveTo>
                  <a:cubicBezTo>
                    <a:pt x="1548575" y="224001"/>
                    <a:pt x="1548575" y="225174"/>
                    <a:pt x="1548575" y="227519"/>
                  </a:cubicBezTo>
                  <a:cubicBezTo>
                    <a:pt x="1535674" y="313132"/>
                    <a:pt x="1295254" y="315478"/>
                    <a:pt x="1200259" y="322515"/>
                  </a:cubicBezTo>
                  <a:cubicBezTo>
                    <a:pt x="1080635" y="330724"/>
                    <a:pt x="925828" y="322515"/>
                    <a:pt x="762812" y="299059"/>
                  </a:cubicBezTo>
                  <a:cubicBezTo>
                    <a:pt x="600968" y="275603"/>
                    <a:pt x="449679" y="239247"/>
                    <a:pt x="337092" y="195854"/>
                  </a:cubicBezTo>
                  <a:cubicBezTo>
                    <a:pt x="247961" y="161844"/>
                    <a:pt x="18096" y="90304"/>
                    <a:pt x="29824" y="4691"/>
                  </a:cubicBezTo>
                  <a:cubicBezTo>
                    <a:pt x="29824" y="3518"/>
                    <a:pt x="30997" y="2346"/>
                    <a:pt x="30997" y="0"/>
                  </a:cubicBezTo>
                  <a:cubicBezTo>
                    <a:pt x="14578" y="11728"/>
                    <a:pt x="2850" y="24628"/>
                    <a:pt x="504" y="42220"/>
                  </a:cubicBezTo>
                  <a:cubicBezTo>
                    <a:pt x="-12396" y="130179"/>
                    <a:pt x="225678" y="204064"/>
                    <a:pt x="317155" y="239247"/>
                  </a:cubicBezTo>
                  <a:cubicBezTo>
                    <a:pt x="433260" y="282640"/>
                    <a:pt x="588067" y="320169"/>
                    <a:pt x="755775" y="344797"/>
                  </a:cubicBezTo>
                  <a:cubicBezTo>
                    <a:pt x="923483" y="369426"/>
                    <a:pt x="1082981" y="377635"/>
                    <a:pt x="1206123" y="369426"/>
                  </a:cubicBezTo>
                  <a:cubicBezTo>
                    <a:pt x="1303464" y="362389"/>
                    <a:pt x="1553266" y="360044"/>
                    <a:pt x="1566167" y="272085"/>
                  </a:cubicBezTo>
                  <a:cubicBezTo>
                    <a:pt x="1568512" y="254493"/>
                    <a:pt x="1561475" y="238074"/>
                    <a:pt x="1548575" y="222828"/>
                  </a:cubicBezTo>
                  <a:close/>
                </a:path>
              </a:pathLst>
            </a:custGeom>
            <a:gradFill>
              <a:gsLst>
                <a:gs pos="100000">
                  <a:schemeClr val="bg1">
                    <a:alpha val="50000"/>
                  </a:schemeClr>
                </a:gs>
                <a:gs pos="0">
                  <a:schemeClr val="bg1">
                    <a:alpha val="50000"/>
                  </a:schemeClr>
                </a:gs>
              </a:gsLst>
              <a:lin ang="16200000" scaled="1"/>
            </a:gradFill>
            <a:ln w="11657"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内页">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48656"/>
      </p:ext>
    </p:extLst>
  </p:cSld>
  <p:clrMapOvr>
    <a:masterClrMapping/>
  </p:clrMapOvr>
  <mc:AlternateContent xmlns:mc="http://schemas.openxmlformats.org/markup-compatibility/2006" xmlns:p14="http://schemas.microsoft.com/office/powerpoint/2010/main">
    <mc:Choice Requires="p14">
      <p:transition spd="slow" p14:dur="1500" advClick="0" advTm="5000">
        <p:random/>
      </p:transition>
    </mc:Choice>
    <mc:Fallback xmlns="">
      <p:transition spd="slow" advClick="0" advTm="5000">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5.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14" name="标题 3"/>
          <p:cNvSpPr>
            <a:spLocks noGrp="1"/>
          </p:cNvSpPr>
          <p:nvPr>
            <p:ph type="ctrTitle" idx="4294967295"/>
          </p:nvPr>
        </p:nvSpPr>
        <p:spPr>
          <a:xfrm>
            <a:off x="233464" y="554476"/>
            <a:ext cx="8393517" cy="1312674"/>
          </a:xfrm>
          <a:prstGeom prst="rect">
            <a:avLst/>
          </a:prstGeom>
        </p:spPr>
        <p:txBody>
          <a:bodyPr>
            <a:noAutofit/>
          </a:bodyPr>
          <a:lstStyle/>
          <a:p>
            <a:r>
              <a:rPr lang="zh-CN" altLang="en-US" sz="6000" b="0" dirty="0">
                <a:solidFill>
                  <a:srgbClr val="E22D36"/>
                </a:solidFill>
                <a:latin typeface="黑体" panose="02010609060101010101" pitchFamily="49" charset="-122"/>
                <a:ea typeface="黑体" panose="02010609060101010101" pitchFamily="49" charset="-122"/>
                <a:cs typeface="+mn-ea"/>
                <a:sym typeface="+mn-lt"/>
              </a:rPr>
              <a:t>品优购</a:t>
            </a:r>
            <a:r>
              <a:rPr lang="en-US" altLang="zh-CN" sz="6000" b="0" dirty="0">
                <a:solidFill>
                  <a:srgbClr val="E22D36"/>
                </a:solidFill>
                <a:latin typeface="黑体" panose="02010609060101010101" pitchFamily="49" charset="-122"/>
                <a:ea typeface="黑体" panose="02010609060101010101" pitchFamily="49" charset="-122"/>
                <a:cs typeface="+mn-ea"/>
                <a:sym typeface="+mn-lt"/>
              </a:rPr>
              <a:t>--</a:t>
            </a:r>
            <a:r>
              <a:rPr lang="zh-CN" altLang="en-US" sz="6000" b="0" dirty="0">
                <a:solidFill>
                  <a:srgbClr val="E22D36"/>
                </a:solidFill>
                <a:latin typeface="黑体" panose="02010609060101010101" pitchFamily="49" charset="-122"/>
                <a:ea typeface="黑体" panose="02010609060101010101" pitchFamily="49" charset="-122"/>
                <a:cs typeface="+mn-ea"/>
                <a:sym typeface="+mn-lt"/>
              </a:rPr>
              <a:t>运营商后台</a:t>
            </a:r>
          </a:p>
        </p:txBody>
      </p:sp>
      <p:sp>
        <p:nvSpPr>
          <p:cNvPr id="15" name="标题 3"/>
          <p:cNvSpPr txBox="1">
            <a:spLocks/>
          </p:cNvSpPr>
          <p:nvPr/>
        </p:nvSpPr>
        <p:spPr>
          <a:xfrm flipH="1">
            <a:off x="8787741" y="-447537"/>
            <a:ext cx="5317218" cy="1476237"/>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sz="5400" b="0" dirty="0">
              <a:solidFill>
                <a:schemeClr val="bg1"/>
              </a:solidFill>
              <a:latin typeface="+mn-lt"/>
              <a:ea typeface="+mn-ea"/>
              <a:cs typeface="+mn-ea"/>
              <a:sym typeface="+mn-lt"/>
            </a:endParaRPr>
          </a:p>
        </p:txBody>
      </p:sp>
      <p:sp>
        <p:nvSpPr>
          <p:cNvPr id="20" name="标题 3"/>
          <p:cNvSpPr txBox="1">
            <a:spLocks/>
          </p:cNvSpPr>
          <p:nvPr/>
        </p:nvSpPr>
        <p:spPr>
          <a:xfrm>
            <a:off x="105227" y="1674343"/>
            <a:ext cx="5317218" cy="1476237"/>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sz="7200" dirty="0">
              <a:solidFill>
                <a:srgbClr val="E22D36"/>
              </a:solidFill>
              <a:latin typeface="+mn-lt"/>
              <a:ea typeface="+mn-ea"/>
              <a:cs typeface="+mn-ea"/>
              <a:sym typeface="+mn-lt"/>
            </a:endParaRPr>
          </a:p>
        </p:txBody>
      </p:sp>
      <p:sp>
        <p:nvSpPr>
          <p:cNvPr id="4" name="文本框 3">
            <a:extLst>
              <a:ext uri="{FF2B5EF4-FFF2-40B4-BE49-F238E27FC236}">
                <a16:creationId xmlns:a16="http://schemas.microsoft.com/office/drawing/2014/main" id="{646AB8E7-63BB-83A2-198F-F431E867CAA2}"/>
              </a:ext>
            </a:extLst>
          </p:cNvPr>
          <p:cNvSpPr txBox="1"/>
          <p:nvPr/>
        </p:nvSpPr>
        <p:spPr>
          <a:xfrm>
            <a:off x="474879" y="5374772"/>
            <a:ext cx="4067939" cy="646331"/>
          </a:xfrm>
          <a:prstGeom prst="rect">
            <a:avLst/>
          </a:prstGeom>
          <a:noFill/>
        </p:spPr>
        <p:txBody>
          <a:bodyPr wrap="square" rtlCol="0">
            <a:spAutoFit/>
          </a:bodyPr>
          <a:lstStyle/>
          <a:p>
            <a:r>
              <a:rPr lang="zh-CN" altLang="en-US" dirty="0"/>
              <a:t>组长</a:t>
            </a:r>
            <a:r>
              <a:rPr lang="en-US" altLang="zh-CN" dirty="0"/>
              <a:t>:</a:t>
            </a:r>
            <a:r>
              <a:rPr lang="zh-CN" altLang="en-US" dirty="0"/>
              <a:t>卢童</a:t>
            </a:r>
            <a:r>
              <a:rPr lang="en-US" altLang="zh-CN" dirty="0"/>
              <a:t>\\\\\\\\\\\   </a:t>
            </a:r>
          </a:p>
          <a:p>
            <a:r>
              <a:rPr lang="zh-CN" altLang="en-US" dirty="0"/>
              <a:t>组员</a:t>
            </a:r>
            <a:r>
              <a:rPr lang="en-US" altLang="zh-CN" dirty="0"/>
              <a:t>:</a:t>
            </a:r>
            <a:r>
              <a:rPr lang="zh-CN" altLang="en-US" dirty="0"/>
              <a:t>徐轩豪    余宝全</a:t>
            </a:r>
            <a:r>
              <a:rPr lang="en-US" altLang="zh-CN" dirty="0"/>
              <a:t>\\\</a:t>
            </a:r>
          </a:p>
        </p:txBody>
      </p:sp>
      <p:sp>
        <p:nvSpPr>
          <p:cNvPr id="5" name="文本框 4">
            <a:extLst>
              <a:ext uri="{FF2B5EF4-FFF2-40B4-BE49-F238E27FC236}">
                <a16:creationId xmlns:a16="http://schemas.microsoft.com/office/drawing/2014/main" id="{B968C506-86C8-49FF-6920-96F4E0BA989B}"/>
              </a:ext>
            </a:extLst>
          </p:cNvPr>
          <p:cNvSpPr txBox="1"/>
          <p:nvPr/>
        </p:nvSpPr>
        <p:spPr>
          <a:xfrm>
            <a:off x="474879" y="6021103"/>
            <a:ext cx="3044757" cy="369332"/>
          </a:xfrm>
          <a:prstGeom prst="rect">
            <a:avLst/>
          </a:prstGeom>
          <a:noFill/>
        </p:spPr>
        <p:txBody>
          <a:bodyPr wrap="square" rtlCol="0">
            <a:spAutoFit/>
          </a:bodyPr>
          <a:lstStyle/>
          <a:p>
            <a:r>
              <a:rPr lang="en-US" altLang="zh-CN" dirty="0"/>
              <a:t>2024.06.29</a:t>
            </a:r>
            <a:endParaRPr lang="zh-CN" altLang="en-US" dirty="0"/>
          </a:p>
        </p:txBody>
      </p:sp>
    </p:spTree>
    <p:custDataLst>
      <p:tags r:id="rId2"/>
    </p:custDataLst>
    <p:extLst>
      <p:ext uri="{BB962C8B-B14F-4D97-AF65-F5344CB8AC3E}">
        <p14:creationId xmlns:p14="http://schemas.microsoft.com/office/powerpoint/2010/main" val="2271741893"/>
      </p:ext>
    </p:extLst>
  </p:cSld>
  <p:clrMapOvr>
    <a:masterClrMapping/>
  </p:clrMapOvr>
  <mc:AlternateContent xmlns:mc="http://schemas.openxmlformats.org/markup-compatibility/2006" xmlns:p14="http://schemas.microsoft.com/office/powerpoint/2010/main">
    <mc:Choice Requires="p14">
      <p:transition spd="slow" p14:dur="2000" advTm="4624"/>
    </mc:Choice>
    <mc:Fallback xmlns="">
      <p:transition spd="slow" advTm="46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randombar(horizontal)">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2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组合 27"/>
          <p:cNvGrpSpPr/>
          <p:nvPr/>
        </p:nvGrpSpPr>
        <p:grpSpPr>
          <a:xfrm>
            <a:off x="331703" y="341952"/>
            <a:ext cx="2047550" cy="573804"/>
            <a:chOff x="331703" y="341952"/>
            <a:chExt cx="2047550" cy="573804"/>
          </a:xfrm>
        </p:grpSpPr>
        <p:sp>
          <p:nvSpPr>
            <p:cNvPr id="30" name="文本框 3"/>
            <p:cNvSpPr txBox="1"/>
            <p:nvPr/>
          </p:nvSpPr>
          <p:spPr>
            <a:xfrm>
              <a:off x="811644" y="341952"/>
              <a:ext cx="156760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功能演示</a:t>
              </a:r>
            </a:p>
          </p:txBody>
        </p:sp>
        <p:sp>
          <p:nvSpPr>
            <p:cNvPr id="31" name="平行四边形 30"/>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4" name="图片 3">
            <a:extLst>
              <a:ext uri="{FF2B5EF4-FFF2-40B4-BE49-F238E27FC236}">
                <a16:creationId xmlns:a16="http://schemas.microsoft.com/office/drawing/2014/main" id="{C4743FEA-A32F-9BF9-5A16-391E07D7CE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925" y="2464902"/>
            <a:ext cx="9478012" cy="2868980"/>
          </a:xfrm>
          <a:prstGeom prst="rect">
            <a:avLst/>
          </a:prstGeom>
        </p:spPr>
      </p:pic>
      <p:sp>
        <p:nvSpPr>
          <p:cNvPr id="8" name="矩形 8">
            <a:extLst>
              <a:ext uri="{FF2B5EF4-FFF2-40B4-BE49-F238E27FC236}">
                <a16:creationId xmlns:a16="http://schemas.microsoft.com/office/drawing/2014/main" id="{6DA492A6-5ECF-3CDB-C177-CDDEE52AFF56}"/>
              </a:ext>
            </a:extLst>
          </p:cNvPr>
          <p:cNvSpPr/>
          <p:nvPr/>
        </p:nvSpPr>
        <p:spPr>
          <a:xfrm>
            <a:off x="594256" y="1864131"/>
            <a:ext cx="2658569" cy="353174"/>
          </a:xfrm>
          <a:prstGeom prst="rect">
            <a:avLst/>
          </a:prstGeom>
          <a:effectLst/>
        </p:spPr>
        <p:txBody>
          <a:bodyPr wrap="square" lIns="86868" tIns="43434" rIns="86868" bIns="43434">
            <a:spAutoFit/>
          </a:bodyPr>
          <a:lstStyle/>
          <a:p>
            <a:pPr>
              <a:lnSpc>
                <a:spcPct val="125000"/>
              </a:lnSpc>
              <a:defRPr/>
            </a:pPr>
            <a:r>
              <a:rPr lang="zh-CN" altLang="en-US" sz="1600" dirty="0">
                <a:solidFill>
                  <a:schemeClr val="tx1">
                    <a:lumMod val="75000"/>
                    <a:lumOff val="25000"/>
                  </a:schemeClr>
                </a:solidFill>
                <a:latin typeface="黑体" panose="02010609060101010101" pitchFamily="49" charset="-122"/>
                <a:ea typeface="黑体" panose="02010609060101010101" pitchFamily="49" charset="-122"/>
              </a:rPr>
              <a:t>商家管理商品页面</a:t>
            </a:r>
          </a:p>
        </p:txBody>
      </p:sp>
      <p:sp>
        <p:nvSpPr>
          <p:cNvPr id="9" name="矩形 16">
            <a:extLst>
              <a:ext uri="{FF2B5EF4-FFF2-40B4-BE49-F238E27FC236}">
                <a16:creationId xmlns:a16="http://schemas.microsoft.com/office/drawing/2014/main" id="{ADB7DA16-05E7-777F-CE8D-AFA4BB4FA364}"/>
              </a:ext>
            </a:extLst>
          </p:cNvPr>
          <p:cNvSpPr/>
          <p:nvPr/>
        </p:nvSpPr>
        <p:spPr>
          <a:xfrm>
            <a:off x="538597" y="1393172"/>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商家管理页面</a:t>
            </a:r>
          </a:p>
        </p:txBody>
      </p:sp>
    </p:spTree>
    <p:extLst>
      <p:ext uri="{BB962C8B-B14F-4D97-AF65-F5344CB8AC3E}">
        <p14:creationId xmlns:p14="http://schemas.microsoft.com/office/powerpoint/2010/main" val="3835269781"/>
      </p:ext>
    </p:extLst>
  </p:cSld>
  <p:clrMapOvr>
    <a:masterClrMapping/>
  </p:clrMapOvr>
  <p:transition spd="slow" advClick="0" advTm="1907">
    <p:comb/>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331703" y="341952"/>
            <a:ext cx="2047550" cy="573804"/>
            <a:chOff x="331703" y="341952"/>
            <a:chExt cx="2047550" cy="573804"/>
          </a:xfrm>
        </p:grpSpPr>
        <p:sp>
          <p:nvSpPr>
            <p:cNvPr id="17" name="文本框 3"/>
            <p:cNvSpPr txBox="1"/>
            <p:nvPr/>
          </p:nvSpPr>
          <p:spPr>
            <a:xfrm>
              <a:off x="811644" y="341952"/>
              <a:ext cx="156760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功能演示</a:t>
              </a:r>
            </a:p>
          </p:txBody>
        </p:sp>
        <p:sp>
          <p:nvSpPr>
            <p:cNvPr id="18" name="平行四边形 17"/>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4" name="图片 3">
            <a:extLst>
              <a:ext uri="{FF2B5EF4-FFF2-40B4-BE49-F238E27FC236}">
                <a16:creationId xmlns:a16="http://schemas.microsoft.com/office/drawing/2014/main" id="{E9E18D0E-6F7D-0CA9-49C3-E837C5ABEF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4557" y="915756"/>
            <a:ext cx="7890527" cy="5070944"/>
          </a:xfrm>
          <a:prstGeom prst="rect">
            <a:avLst/>
          </a:prstGeom>
        </p:spPr>
      </p:pic>
      <p:sp>
        <p:nvSpPr>
          <p:cNvPr id="7" name="矩形 8">
            <a:extLst>
              <a:ext uri="{FF2B5EF4-FFF2-40B4-BE49-F238E27FC236}">
                <a16:creationId xmlns:a16="http://schemas.microsoft.com/office/drawing/2014/main" id="{EA8EAD19-DD99-903B-6299-98A69DF2530A}"/>
              </a:ext>
            </a:extLst>
          </p:cNvPr>
          <p:cNvSpPr/>
          <p:nvPr/>
        </p:nvSpPr>
        <p:spPr>
          <a:xfrm>
            <a:off x="1179712" y="2542395"/>
            <a:ext cx="2658569" cy="353174"/>
          </a:xfrm>
          <a:prstGeom prst="rect">
            <a:avLst/>
          </a:prstGeom>
          <a:effectLst/>
        </p:spPr>
        <p:txBody>
          <a:bodyPr wrap="square" lIns="86868" tIns="43434" rIns="86868" bIns="43434">
            <a:spAutoFit/>
          </a:bodyPr>
          <a:lstStyle/>
          <a:p>
            <a:pPr>
              <a:lnSpc>
                <a:spcPct val="125000"/>
              </a:lnSpc>
              <a:defRPr/>
            </a:pPr>
            <a:r>
              <a:rPr lang="zh-CN" altLang="en-US" sz="1600" dirty="0">
                <a:solidFill>
                  <a:schemeClr val="tx1">
                    <a:lumMod val="75000"/>
                    <a:lumOff val="25000"/>
                  </a:schemeClr>
                </a:solidFill>
                <a:latin typeface="黑体" panose="02010609060101010101" pitchFamily="49" charset="-122"/>
                <a:ea typeface="黑体" panose="02010609060101010101" pitchFamily="49" charset="-122"/>
              </a:rPr>
              <a:t>用户的搜索商品功能</a:t>
            </a:r>
          </a:p>
        </p:txBody>
      </p:sp>
      <p:sp>
        <p:nvSpPr>
          <p:cNvPr id="12" name="矩形 16">
            <a:extLst>
              <a:ext uri="{FF2B5EF4-FFF2-40B4-BE49-F238E27FC236}">
                <a16:creationId xmlns:a16="http://schemas.microsoft.com/office/drawing/2014/main" id="{BC956F98-E45E-798A-A820-C8AE5EF6D04D}"/>
              </a:ext>
            </a:extLst>
          </p:cNvPr>
          <p:cNvSpPr/>
          <p:nvPr/>
        </p:nvSpPr>
        <p:spPr>
          <a:xfrm>
            <a:off x="2040544" y="2146902"/>
            <a:ext cx="1304013" cy="395493"/>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用户页面</a:t>
            </a:r>
          </a:p>
        </p:txBody>
      </p:sp>
    </p:spTree>
    <p:extLst>
      <p:ext uri="{BB962C8B-B14F-4D97-AF65-F5344CB8AC3E}">
        <p14:creationId xmlns:p14="http://schemas.microsoft.com/office/powerpoint/2010/main" val="2274062530"/>
      </p:ext>
    </p:extLst>
  </p:cSld>
  <p:clrMapOvr>
    <a:masterClrMapping/>
  </p:clrMapOvr>
  <p:transition spd="slow" advTm="1320">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876A47B8-9847-4BE0-AEC6-33B968BD44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587946"/>
            <a:ext cx="6292276" cy="4026447"/>
          </a:xfrm>
          <a:prstGeom prst="rect">
            <a:avLst/>
          </a:prstGeom>
        </p:spPr>
      </p:pic>
      <p:sp>
        <p:nvSpPr>
          <p:cNvPr id="2" name="矩形 1">
            <a:extLst>
              <a:ext uri="{FF2B5EF4-FFF2-40B4-BE49-F238E27FC236}">
                <a16:creationId xmlns:a16="http://schemas.microsoft.com/office/drawing/2014/main" id="{CA6B0603-6888-4665-92CA-580926EB1361}"/>
              </a:ext>
            </a:extLst>
          </p:cNvPr>
          <p:cNvSpPr/>
          <p:nvPr/>
        </p:nvSpPr>
        <p:spPr>
          <a:xfrm>
            <a:off x="3286395" y="2321004"/>
            <a:ext cx="8102041" cy="2352282"/>
          </a:xfrm>
          <a:prstGeom prst="rect">
            <a:avLst/>
          </a:prstGeom>
          <a:solidFill>
            <a:srgbClr val="E4202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3" name="文本框 2">
            <a:extLst>
              <a:ext uri="{FF2B5EF4-FFF2-40B4-BE49-F238E27FC236}">
                <a16:creationId xmlns:a16="http://schemas.microsoft.com/office/drawing/2014/main" id="{7D848554-7EF6-4967-936C-30BF198ADDB3}"/>
              </a:ext>
            </a:extLst>
          </p:cNvPr>
          <p:cNvSpPr txBox="1"/>
          <p:nvPr/>
        </p:nvSpPr>
        <p:spPr>
          <a:xfrm>
            <a:off x="3405238" y="2389149"/>
            <a:ext cx="2445249" cy="2215991"/>
          </a:xfrm>
          <a:prstGeom prst="rect">
            <a:avLst/>
          </a:prstGeom>
          <a:noFill/>
        </p:spPr>
        <p:txBody>
          <a:bodyPr wrap="square" rtlCol="0">
            <a:spAutoFit/>
          </a:bodyPr>
          <a:lstStyle/>
          <a:p>
            <a:pPr algn="ctr"/>
            <a:r>
              <a:rPr lang="en-US" altLang="zh-CN" sz="13800" dirty="0">
                <a:solidFill>
                  <a:schemeClr val="bg1"/>
                </a:solidFill>
                <a:cs typeface="+mn-ea"/>
                <a:sym typeface="+mn-lt"/>
              </a:rPr>
              <a:t>03</a:t>
            </a:r>
            <a:endParaRPr lang="zh-CN" altLang="en-US" sz="13800" dirty="0">
              <a:solidFill>
                <a:schemeClr val="bg1"/>
              </a:solidFill>
              <a:cs typeface="+mn-ea"/>
              <a:sym typeface="+mn-lt"/>
            </a:endParaRPr>
          </a:p>
        </p:txBody>
      </p:sp>
      <p:sp>
        <p:nvSpPr>
          <p:cNvPr id="4" name="文本框 3">
            <a:extLst>
              <a:ext uri="{FF2B5EF4-FFF2-40B4-BE49-F238E27FC236}">
                <a16:creationId xmlns:a16="http://schemas.microsoft.com/office/drawing/2014/main" id="{218CA210-F14E-4590-92B8-8DBAAAAC40FA}"/>
              </a:ext>
            </a:extLst>
          </p:cNvPr>
          <p:cNvSpPr txBox="1"/>
          <p:nvPr/>
        </p:nvSpPr>
        <p:spPr>
          <a:xfrm>
            <a:off x="5731644" y="2892775"/>
            <a:ext cx="4726113" cy="923330"/>
          </a:xfrm>
          <a:prstGeom prst="rect">
            <a:avLst/>
          </a:prstGeom>
          <a:noFill/>
        </p:spPr>
        <p:txBody>
          <a:bodyPr wrap="square" rtlCol="0">
            <a:spAutoFit/>
          </a:bodyPr>
          <a:lstStyle/>
          <a:p>
            <a:r>
              <a:rPr lang="zh-CN" altLang="en-US" sz="5400" dirty="0">
                <a:solidFill>
                  <a:schemeClr val="bg1"/>
                </a:solidFill>
                <a:latin typeface="黑体" panose="02010609060101010101" pitchFamily="49" charset="-122"/>
                <a:ea typeface="黑体" panose="02010609060101010101" pitchFamily="49" charset="-122"/>
                <a:cs typeface="+mn-ea"/>
                <a:sym typeface="+mn-lt"/>
              </a:rPr>
              <a:t>技术亮点</a:t>
            </a:r>
          </a:p>
        </p:txBody>
      </p:sp>
    </p:spTree>
    <p:extLst>
      <p:ext uri="{BB962C8B-B14F-4D97-AF65-F5344CB8AC3E}">
        <p14:creationId xmlns:p14="http://schemas.microsoft.com/office/powerpoint/2010/main" val="654361161"/>
      </p:ext>
    </p:extLst>
  </p:cSld>
  <p:clrMapOvr>
    <a:masterClrMapping/>
  </p:clrMapOvr>
  <mc:AlternateContent xmlns:mc="http://schemas.openxmlformats.org/markup-compatibility/2006" xmlns:p14="http://schemas.microsoft.com/office/powerpoint/2010/main">
    <mc:Choice Requires="p14">
      <p:transition spd="med" p14:dur="700" advClick="0" advTm="382">
        <p:fade/>
      </p:transition>
    </mc:Choice>
    <mc:Fallback xmlns="">
      <p:transition spd="med" advClick="0" advTm="38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331703" y="341952"/>
            <a:ext cx="2211000" cy="573804"/>
            <a:chOff x="331703" y="341952"/>
            <a:chExt cx="1649306" cy="573804"/>
          </a:xfrm>
        </p:grpSpPr>
        <p:sp>
          <p:nvSpPr>
            <p:cNvPr id="16" name="文本框 3"/>
            <p:cNvSpPr txBox="1"/>
            <p:nvPr/>
          </p:nvSpPr>
          <p:spPr>
            <a:xfrm>
              <a:off x="811644" y="341952"/>
              <a:ext cx="1169365"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等线" panose="02010600030101010101" pitchFamily="2" charset="-122"/>
                  <a:ea typeface="等线" panose="02010600030101010101" pitchFamily="2" charset="-122"/>
                  <a:cs typeface="+mn-ea"/>
                  <a:sym typeface="+mn-lt"/>
                </a:rPr>
                <a:t>技术亮点</a:t>
              </a:r>
            </a:p>
          </p:txBody>
        </p:sp>
        <p:sp>
          <p:nvSpPr>
            <p:cNvPr id="17" name="平行四边形 16"/>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9" name="文本框 8">
            <a:extLst>
              <a:ext uri="{FF2B5EF4-FFF2-40B4-BE49-F238E27FC236}">
                <a16:creationId xmlns:a16="http://schemas.microsoft.com/office/drawing/2014/main" id="{EC75FF2D-E922-BB25-447B-AAE0486A7661}"/>
              </a:ext>
            </a:extLst>
          </p:cNvPr>
          <p:cNvSpPr txBox="1"/>
          <p:nvPr/>
        </p:nvSpPr>
        <p:spPr>
          <a:xfrm>
            <a:off x="886414" y="1439631"/>
            <a:ext cx="9860047" cy="4231928"/>
          </a:xfrm>
          <a:prstGeom prst="rect">
            <a:avLst/>
          </a:prstGeom>
          <a:noFill/>
        </p:spPr>
        <p:txBody>
          <a:bodyPr wrap="square">
            <a:spAutoFit/>
          </a:bodyPr>
          <a:lstStyle/>
          <a:p>
            <a:pPr>
              <a:spcBef>
                <a:spcPts val="300"/>
              </a:spcBef>
            </a:pPr>
            <a:r>
              <a:rPr lang="zh-CN" altLang="en-US" sz="2400" dirty="0">
                <a:latin typeface="等线" panose="02010600030101010101" pitchFamily="2" charset="-122"/>
                <a:ea typeface="等线" panose="02010600030101010101" pitchFamily="2" charset="-122"/>
              </a:rPr>
              <a:t>微服务架构：</a:t>
            </a:r>
            <a:r>
              <a:rPr lang="en-US" altLang="zh-CN" sz="2400" dirty="0">
                <a:latin typeface="等线" panose="02010600030101010101" pitchFamily="2" charset="-122"/>
                <a:ea typeface="等线" panose="02010600030101010101" pitchFamily="2" charset="-122"/>
              </a:rPr>
              <a:t>Spring Cloud </a:t>
            </a:r>
            <a:r>
              <a:rPr lang="zh-CN" altLang="en-US" sz="2400" dirty="0">
                <a:latin typeface="等线" panose="02010600030101010101" pitchFamily="2" charset="-122"/>
                <a:ea typeface="等线" panose="02010600030101010101" pitchFamily="2" charset="-122"/>
              </a:rPr>
              <a:t>提供了一套完整的微服务解决方案，允许商品管理系统被设计为一组小的独立服务。每个服务都有自己的职责，比如商品信息管理、库存管理、订单处理等。这种架构有助于系统的可扩展性和可维护性。</a:t>
            </a:r>
          </a:p>
          <a:p>
            <a:pPr>
              <a:spcBef>
                <a:spcPts val="300"/>
              </a:spcBef>
            </a:pPr>
            <a:r>
              <a:rPr lang="zh-CN" altLang="en-US" sz="2400" dirty="0">
                <a:latin typeface="等线" panose="02010600030101010101" pitchFamily="2" charset="-122"/>
                <a:ea typeface="等线" panose="02010600030101010101" pitchFamily="2" charset="-122"/>
              </a:rPr>
              <a:t>服务发现与注册：使用</a:t>
            </a:r>
            <a:r>
              <a:rPr lang="en-US" altLang="zh-CN" sz="2400" dirty="0">
                <a:latin typeface="等线" panose="02010600030101010101" pitchFamily="2" charset="-122"/>
                <a:ea typeface="等线" panose="02010600030101010101" pitchFamily="2" charset="-122"/>
              </a:rPr>
              <a:t>Spring Cloud</a:t>
            </a:r>
            <a:r>
              <a:rPr lang="zh-CN" altLang="en-US" sz="2400" dirty="0">
                <a:latin typeface="等线" panose="02010600030101010101" pitchFamily="2" charset="-122"/>
                <a:ea typeface="等线" panose="02010600030101010101" pitchFamily="2" charset="-122"/>
              </a:rPr>
              <a:t>中的服务发现组件（如</a:t>
            </a:r>
            <a:r>
              <a:rPr lang="en-US" altLang="zh-CN" sz="2400" dirty="0">
                <a:latin typeface="等线" panose="02010600030101010101" pitchFamily="2" charset="-122"/>
                <a:ea typeface="等线" panose="02010600030101010101" pitchFamily="2" charset="-122"/>
              </a:rPr>
              <a:t>Eureka, Consul, </a:t>
            </a:r>
            <a:r>
              <a:rPr lang="en-US" altLang="zh-CN" sz="2400" dirty="0" err="1">
                <a:latin typeface="等线" panose="02010600030101010101" pitchFamily="2" charset="-122"/>
                <a:ea typeface="等线" panose="02010600030101010101" pitchFamily="2" charset="-122"/>
              </a:rPr>
              <a:t>ZooKeeper</a:t>
            </a:r>
            <a:r>
              <a:rPr lang="zh-CN" altLang="en-US" sz="2400" dirty="0">
                <a:latin typeface="等线" panose="02010600030101010101" pitchFamily="2" charset="-122"/>
                <a:ea typeface="等线" panose="02010600030101010101" pitchFamily="2" charset="-122"/>
              </a:rPr>
              <a:t>等），可以实现服务的自动注册和发现，使得系统更加健壮和易于管理。</a:t>
            </a:r>
          </a:p>
          <a:p>
            <a:pPr>
              <a:spcBef>
                <a:spcPts val="300"/>
              </a:spcBef>
            </a:pPr>
            <a:r>
              <a:rPr lang="zh-CN" altLang="en-US" sz="2400" dirty="0">
                <a:latin typeface="等线" panose="02010600030101010101" pitchFamily="2" charset="-122"/>
                <a:ea typeface="等线" panose="02010600030101010101" pitchFamily="2" charset="-122"/>
              </a:rPr>
              <a:t>负载均衡：</a:t>
            </a:r>
            <a:r>
              <a:rPr lang="en-US" altLang="zh-CN" sz="2400" dirty="0">
                <a:latin typeface="等线" panose="02010600030101010101" pitchFamily="2" charset="-122"/>
                <a:ea typeface="等线" panose="02010600030101010101" pitchFamily="2" charset="-122"/>
              </a:rPr>
              <a:t>Spring Cloud</a:t>
            </a:r>
            <a:r>
              <a:rPr lang="zh-CN" altLang="en-US" sz="2400" dirty="0">
                <a:latin typeface="等线" panose="02010600030101010101" pitchFamily="2" charset="-122"/>
                <a:ea typeface="等线" panose="02010600030101010101" pitchFamily="2" charset="-122"/>
              </a:rPr>
              <a:t>提供了负载均衡的解决方案（如</a:t>
            </a:r>
            <a:r>
              <a:rPr lang="en-US" altLang="zh-CN" sz="2400" dirty="0">
                <a:latin typeface="等线" panose="02010600030101010101" pitchFamily="2" charset="-122"/>
                <a:ea typeface="等线" panose="02010600030101010101" pitchFamily="2" charset="-122"/>
              </a:rPr>
              <a:t>Ribbon</a:t>
            </a:r>
            <a:r>
              <a:rPr lang="zh-CN" altLang="en-US" sz="2400" dirty="0">
                <a:latin typeface="等线" panose="02010600030101010101" pitchFamily="2" charset="-122"/>
                <a:ea typeface="等线" panose="02010600030101010101" pitchFamily="2" charset="-122"/>
              </a:rPr>
              <a:t>），可以在多个服务实例之间分配流量，提高系统的响应能力和容错性。</a:t>
            </a:r>
          </a:p>
          <a:p>
            <a:pPr>
              <a:spcBef>
                <a:spcPts val="300"/>
              </a:spcBef>
            </a:pPr>
            <a:r>
              <a:rPr lang="zh-CN" altLang="en-US" sz="2400" dirty="0">
                <a:latin typeface="等线" panose="02010600030101010101" pitchFamily="2" charset="-122"/>
                <a:ea typeface="等线" panose="02010600030101010101" pitchFamily="2" charset="-122"/>
              </a:rPr>
              <a:t>断路器模式：使用</a:t>
            </a:r>
            <a:r>
              <a:rPr lang="en-US" altLang="zh-CN" sz="2400" dirty="0">
                <a:latin typeface="等线" panose="02010600030101010101" pitchFamily="2" charset="-122"/>
                <a:ea typeface="等线" panose="02010600030101010101" pitchFamily="2" charset="-122"/>
              </a:rPr>
              <a:t>Spring Cloud Circuit Breaker</a:t>
            </a:r>
            <a:r>
              <a:rPr lang="zh-CN" altLang="en-US" sz="2400" dirty="0">
                <a:latin typeface="等线" panose="02010600030101010101" pitchFamily="2" charset="-122"/>
                <a:ea typeface="等线" panose="02010600030101010101" pitchFamily="2" charset="-122"/>
              </a:rPr>
              <a:t>可以在系统中实现断路器模式，避免因某个服务的故障而导致整个系统的崩溃。</a:t>
            </a:r>
          </a:p>
        </p:txBody>
      </p:sp>
    </p:spTree>
    <p:extLst>
      <p:ext uri="{BB962C8B-B14F-4D97-AF65-F5344CB8AC3E}">
        <p14:creationId xmlns:p14="http://schemas.microsoft.com/office/powerpoint/2010/main" val="1814699121"/>
      </p:ext>
    </p:extLst>
  </p:cSld>
  <p:clrMapOvr>
    <a:masterClrMapping/>
  </p:clrMapOvr>
  <mc:AlternateContent xmlns:mc="http://schemas.openxmlformats.org/markup-compatibility/2006" xmlns:p14="http://schemas.microsoft.com/office/powerpoint/2010/main">
    <mc:Choice Requires="p14">
      <p:transition spd="med" p14:dur="700" advTm="1908">
        <p:fade/>
      </p:transition>
    </mc:Choice>
    <mc:Fallback xmlns="">
      <p:transition spd="med" advTm="1908">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331703" y="341952"/>
            <a:ext cx="2211000" cy="573804"/>
            <a:chOff x="331703" y="341952"/>
            <a:chExt cx="1649306" cy="573804"/>
          </a:xfrm>
        </p:grpSpPr>
        <p:sp>
          <p:nvSpPr>
            <p:cNvPr id="16" name="文本框 3"/>
            <p:cNvSpPr txBox="1"/>
            <p:nvPr/>
          </p:nvSpPr>
          <p:spPr>
            <a:xfrm>
              <a:off x="811644" y="341952"/>
              <a:ext cx="1169365"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等线" panose="02010600030101010101" pitchFamily="2" charset="-122"/>
                  <a:ea typeface="等线" panose="02010600030101010101" pitchFamily="2" charset="-122"/>
                  <a:cs typeface="+mn-ea"/>
                  <a:sym typeface="+mn-lt"/>
                </a:rPr>
                <a:t>技术亮点</a:t>
              </a:r>
            </a:p>
          </p:txBody>
        </p:sp>
        <p:sp>
          <p:nvSpPr>
            <p:cNvPr id="17" name="平行四边形 16"/>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9" name="文本框 8">
            <a:extLst>
              <a:ext uri="{FF2B5EF4-FFF2-40B4-BE49-F238E27FC236}">
                <a16:creationId xmlns:a16="http://schemas.microsoft.com/office/drawing/2014/main" id="{EC75FF2D-E922-BB25-447B-AAE0486A7661}"/>
              </a:ext>
            </a:extLst>
          </p:cNvPr>
          <p:cNvSpPr txBox="1"/>
          <p:nvPr/>
        </p:nvSpPr>
        <p:spPr>
          <a:xfrm>
            <a:off x="419100" y="1151011"/>
            <a:ext cx="11353799" cy="5262979"/>
          </a:xfrm>
          <a:prstGeom prst="rect">
            <a:avLst/>
          </a:prstGeom>
          <a:noFill/>
        </p:spPr>
        <p:txBody>
          <a:bodyPr wrap="square">
            <a:spAutoFit/>
          </a:bodyPr>
          <a:lstStyle/>
          <a:p>
            <a:r>
              <a:rPr lang="zh-CN" altLang="en-US" sz="2400" dirty="0">
                <a:latin typeface="等线" panose="02010600030101010101" pitchFamily="2" charset="-122"/>
                <a:ea typeface="等线" panose="02010600030101010101" pitchFamily="2" charset="-122"/>
              </a:rPr>
              <a:t>分布式配置管理：</a:t>
            </a:r>
            <a:r>
              <a:rPr lang="en-US" altLang="zh-CN" sz="2400" dirty="0">
                <a:latin typeface="等线" panose="02010600030101010101" pitchFamily="2" charset="-122"/>
                <a:ea typeface="等线" panose="02010600030101010101" pitchFamily="2" charset="-122"/>
              </a:rPr>
              <a:t>Spring Cloud Config</a:t>
            </a:r>
            <a:r>
              <a:rPr lang="zh-CN" altLang="en-US" sz="2400" dirty="0">
                <a:latin typeface="等线" panose="02010600030101010101" pitchFamily="2" charset="-122"/>
                <a:ea typeface="等线" panose="02010600030101010101" pitchFamily="2" charset="-122"/>
              </a:rPr>
              <a:t>提供了一种管理分布式系统中应用程序和服务的外部属性的方法。可以帮助团队在不同的环境中（如开发、测试、生产）管理配置。</a:t>
            </a:r>
          </a:p>
          <a:p>
            <a:r>
              <a:rPr lang="zh-CN" altLang="en-US" sz="2400" dirty="0">
                <a:latin typeface="等线" panose="02010600030101010101" pitchFamily="2" charset="-122"/>
                <a:ea typeface="等线" panose="02010600030101010101" pitchFamily="2" charset="-122"/>
              </a:rPr>
              <a:t>安全性：</a:t>
            </a:r>
            <a:r>
              <a:rPr lang="en-US" altLang="zh-CN" sz="2400" dirty="0">
                <a:latin typeface="等线" panose="02010600030101010101" pitchFamily="2" charset="-122"/>
                <a:ea typeface="等线" panose="02010600030101010101" pitchFamily="2" charset="-122"/>
              </a:rPr>
              <a:t>Spring Cloud Security</a:t>
            </a:r>
            <a:r>
              <a:rPr lang="zh-CN" altLang="en-US" sz="2400" dirty="0">
                <a:latin typeface="等线" panose="02010600030101010101" pitchFamily="2" charset="-122"/>
                <a:ea typeface="等线" panose="02010600030101010101" pitchFamily="2" charset="-122"/>
              </a:rPr>
              <a:t>提供了一系列的安全特性，包括</a:t>
            </a:r>
            <a:r>
              <a:rPr lang="en-US" altLang="zh-CN" sz="2400" dirty="0">
                <a:latin typeface="等线" panose="02010600030101010101" pitchFamily="2" charset="-122"/>
                <a:ea typeface="等线" panose="02010600030101010101" pitchFamily="2" charset="-122"/>
              </a:rPr>
              <a:t>OAuth2</a:t>
            </a:r>
            <a:r>
              <a:rPr lang="zh-CN" altLang="en-US" sz="2400" dirty="0">
                <a:latin typeface="等线" panose="02010600030101010101" pitchFamily="2" charset="-122"/>
                <a:ea typeface="等线" panose="02010600030101010101" pitchFamily="2" charset="-122"/>
              </a:rPr>
              <a:t>支持，可以帮助保护商品管理系统的安全。</a:t>
            </a:r>
          </a:p>
          <a:p>
            <a:r>
              <a:rPr lang="zh-CN" altLang="en-US" sz="2400" dirty="0">
                <a:latin typeface="等线" panose="02010600030101010101" pitchFamily="2" charset="-122"/>
                <a:ea typeface="等线" panose="02010600030101010101" pitchFamily="2" charset="-122"/>
              </a:rPr>
              <a:t>分布式追踪：</a:t>
            </a:r>
            <a:r>
              <a:rPr lang="en-US" altLang="zh-CN" sz="2400" dirty="0">
                <a:latin typeface="等线" panose="02010600030101010101" pitchFamily="2" charset="-122"/>
                <a:ea typeface="等线" panose="02010600030101010101" pitchFamily="2" charset="-122"/>
              </a:rPr>
              <a:t>Spring Cloud Sleuth</a:t>
            </a:r>
            <a:r>
              <a:rPr lang="zh-CN" altLang="en-US" sz="2400" dirty="0">
                <a:latin typeface="等线" panose="02010600030101010101" pitchFamily="2" charset="-122"/>
                <a:ea typeface="等线" panose="02010600030101010101" pitchFamily="2" charset="-122"/>
              </a:rPr>
              <a:t>提供了一种在分布式系统中实现追踪的方法，可以帮助开发者理解服务间的调用关系，用于问题诊断和性能分析。</a:t>
            </a:r>
          </a:p>
          <a:p>
            <a:r>
              <a:rPr lang="zh-CN" altLang="en-US" sz="2400" dirty="0">
                <a:latin typeface="等线" panose="02010600030101010101" pitchFamily="2" charset="-122"/>
                <a:ea typeface="等线" panose="02010600030101010101" pitchFamily="2" charset="-122"/>
              </a:rPr>
              <a:t>数据处理：</a:t>
            </a:r>
            <a:r>
              <a:rPr lang="en-US" altLang="zh-CN" sz="2400" dirty="0">
                <a:latin typeface="等线" panose="02010600030101010101" pitchFamily="2" charset="-122"/>
                <a:ea typeface="等线" panose="02010600030101010101" pitchFamily="2" charset="-122"/>
              </a:rPr>
              <a:t>Spring Cloud Stream</a:t>
            </a:r>
            <a:r>
              <a:rPr lang="zh-CN" altLang="en-US" sz="2400" dirty="0">
                <a:latin typeface="等线" panose="02010600030101010101" pitchFamily="2" charset="-122"/>
                <a:ea typeface="等线" panose="02010600030101010101" pitchFamily="2" charset="-122"/>
              </a:rPr>
              <a:t>和</a:t>
            </a:r>
            <a:r>
              <a:rPr lang="en-US" altLang="zh-CN" sz="2400" dirty="0">
                <a:latin typeface="等线" panose="02010600030101010101" pitchFamily="2" charset="-122"/>
                <a:ea typeface="等线" panose="02010600030101010101" pitchFamily="2" charset="-122"/>
              </a:rPr>
              <a:t>Spring Cloud Data Flow</a:t>
            </a:r>
            <a:r>
              <a:rPr lang="zh-CN" altLang="en-US" sz="2400" dirty="0">
                <a:latin typeface="等线" panose="02010600030101010101" pitchFamily="2" charset="-122"/>
                <a:ea typeface="等线" panose="02010600030101010101" pitchFamily="2" charset="-122"/>
              </a:rPr>
              <a:t>可以帮助处理数据流和构建数据处理管道，适用于需要处理大量数据的场景。</a:t>
            </a:r>
          </a:p>
          <a:p>
            <a:r>
              <a:rPr lang="zh-CN" altLang="en-US" sz="2400" dirty="0">
                <a:latin typeface="等线" panose="02010600030101010101" pitchFamily="2" charset="-122"/>
                <a:ea typeface="等线" panose="02010600030101010101" pitchFamily="2" charset="-122"/>
              </a:rPr>
              <a:t>部署与管理：</a:t>
            </a:r>
            <a:r>
              <a:rPr lang="en-US" altLang="zh-CN" sz="2400" dirty="0">
                <a:latin typeface="等线" panose="02010600030101010101" pitchFamily="2" charset="-122"/>
                <a:ea typeface="等线" panose="02010600030101010101" pitchFamily="2" charset="-122"/>
              </a:rPr>
              <a:t>Spring Cloud </a:t>
            </a:r>
            <a:r>
              <a:rPr lang="zh-CN" altLang="en-US" sz="2400" dirty="0">
                <a:latin typeface="等线" panose="02010600030101010101" pitchFamily="2" charset="-122"/>
                <a:ea typeface="等线" panose="02010600030101010101" pitchFamily="2" charset="-122"/>
              </a:rPr>
              <a:t>应用程序可以部署在各种环境中，包括云服务提供商（如</a:t>
            </a:r>
            <a:r>
              <a:rPr lang="en-US" altLang="zh-CN" sz="2400" dirty="0">
                <a:latin typeface="等线" panose="02010600030101010101" pitchFamily="2" charset="-122"/>
                <a:ea typeface="等线" panose="02010600030101010101" pitchFamily="2" charset="-122"/>
              </a:rPr>
              <a:t>AWS, Azure, Google Cloud Platform</a:t>
            </a:r>
            <a:r>
              <a:rPr lang="zh-CN" altLang="en-US" sz="2400" dirty="0">
                <a:latin typeface="等线" panose="02010600030101010101" pitchFamily="2" charset="-122"/>
                <a:ea typeface="等线" panose="02010600030101010101" pitchFamily="2" charset="-122"/>
              </a:rPr>
              <a:t>等）。</a:t>
            </a:r>
            <a:r>
              <a:rPr lang="en-US" altLang="zh-CN" sz="2400" dirty="0">
                <a:latin typeface="等线" panose="02010600030101010101" pitchFamily="2" charset="-122"/>
                <a:ea typeface="等线" panose="02010600030101010101" pitchFamily="2" charset="-122"/>
              </a:rPr>
              <a:t>Spring Cloud</a:t>
            </a:r>
            <a:r>
              <a:rPr lang="zh-CN" altLang="en-US" sz="2400" dirty="0">
                <a:latin typeface="等线" panose="02010600030101010101" pitchFamily="2" charset="-122"/>
                <a:ea typeface="等线" panose="02010600030101010101" pitchFamily="2" charset="-122"/>
              </a:rPr>
              <a:t>也提供了与容器编排系统（如</a:t>
            </a:r>
            <a:r>
              <a:rPr lang="en-US" altLang="zh-CN" sz="2400" dirty="0">
                <a:latin typeface="等线" panose="02010600030101010101" pitchFamily="2" charset="-122"/>
                <a:ea typeface="等线" panose="02010600030101010101" pitchFamily="2" charset="-122"/>
              </a:rPr>
              <a:t>Kubernetes</a:t>
            </a:r>
            <a:r>
              <a:rPr lang="zh-CN" altLang="en-US" sz="2400" dirty="0">
                <a:latin typeface="等线" panose="02010600030101010101" pitchFamily="2" charset="-122"/>
                <a:ea typeface="等线" panose="02010600030101010101" pitchFamily="2" charset="-122"/>
              </a:rPr>
              <a:t>）的集成，简化了应用程序的部署和管理。</a:t>
            </a:r>
          </a:p>
          <a:p>
            <a:r>
              <a:rPr lang="zh-CN" altLang="en-US" sz="2400" dirty="0">
                <a:latin typeface="等线" panose="02010600030101010101" pitchFamily="2" charset="-122"/>
                <a:ea typeface="等线" panose="02010600030101010101" pitchFamily="2" charset="-122"/>
              </a:rPr>
              <a:t>持续集成与持续部署：</a:t>
            </a:r>
            <a:r>
              <a:rPr lang="en-US" altLang="zh-CN" sz="2400" dirty="0">
                <a:latin typeface="等线" panose="02010600030101010101" pitchFamily="2" charset="-122"/>
                <a:ea typeface="等线" panose="02010600030101010101" pitchFamily="2" charset="-122"/>
              </a:rPr>
              <a:t>Spring Cloud</a:t>
            </a:r>
            <a:r>
              <a:rPr lang="zh-CN" altLang="en-US" sz="2400" dirty="0">
                <a:latin typeface="等线" panose="02010600030101010101" pitchFamily="2" charset="-122"/>
                <a:ea typeface="等线" panose="02010600030101010101" pitchFamily="2" charset="-122"/>
              </a:rPr>
              <a:t>与</a:t>
            </a:r>
            <a:r>
              <a:rPr lang="en-US" altLang="zh-CN" sz="2400" dirty="0">
                <a:latin typeface="等线" panose="02010600030101010101" pitchFamily="2" charset="-122"/>
                <a:ea typeface="等线" panose="02010600030101010101" pitchFamily="2" charset="-122"/>
              </a:rPr>
              <a:t>Jenkins, Git</a:t>
            </a:r>
            <a:r>
              <a:rPr lang="zh-CN" altLang="en-US" sz="2400" dirty="0">
                <a:latin typeface="等线" panose="02010600030101010101" pitchFamily="2" charset="-122"/>
                <a:ea typeface="等线" panose="02010600030101010101" pitchFamily="2" charset="-122"/>
              </a:rPr>
              <a:t>等工具的集成可以实现自动化的构建、测试和部署流程，提高开发效率和系统的稳定性。</a:t>
            </a:r>
          </a:p>
        </p:txBody>
      </p:sp>
    </p:spTree>
    <p:extLst>
      <p:ext uri="{BB962C8B-B14F-4D97-AF65-F5344CB8AC3E}">
        <p14:creationId xmlns:p14="http://schemas.microsoft.com/office/powerpoint/2010/main" val="2855623154"/>
      </p:ext>
    </p:extLst>
  </p:cSld>
  <p:clrMapOvr>
    <a:masterClrMapping/>
  </p:clrMapOvr>
  <mc:AlternateContent xmlns:mc="http://schemas.openxmlformats.org/markup-compatibility/2006" xmlns:p14="http://schemas.microsoft.com/office/powerpoint/2010/main">
    <mc:Choice Requires="p14">
      <p:transition spd="med" p14:dur="700" advTm="1908">
        <p:fade/>
      </p:transition>
    </mc:Choice>
    <mc:Fallback xmlns="">
      <p:transition spd="med" advTm="1908">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876A47B8-9847-4BE0-AEC6-33B968BD44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587946"/>
            <a:ext cx="6292276" cy="4026447"/>
          </a:xfrm>
          <a:prstGeom prst="rect">
            <a:avLst/>
          </a:prstGeom>
        </p:spPr>
      </p:pic>
      <p:sp>
        <p:nvSpPr>
          <p:cNvPr id="2" name="矩形 1">
            <a:extLst>
              <a:ext uri="{FF2B5EF4-FFF2-40B4-BE49-F238E27FC236}">
                <a16:creationId xmlns:a16="http://schemas.microsoft.com/office/drawing/2014/main" id="{CA6B0603-6888-4665-92CA-580926EB1361}"/>
              </a:ext>
            </a:extLst>
          </p:cNvPr>
          <p:cNvSpPr/>
          <p:nvPr/>
        </p:nvSpPr>
        <p:spPr>
          <a:xfrm>
            <a:off x="3286395" y="2321004"/>
            <a:ext cx="8102041" cy="2352282"/>
          </a:xfrm>
          <a:prstGeom prst="rect">
            <a:avLst/>
          </a:prstGeom>
          <a:solidFill>
            <a:srgbClr val="E4202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3" name="文本框 2">
            <a:extLst>
              <a:ext uri="{FF2B5EF4-FFF2-40B4-BE49-F238E27FC236}">
                <a16:creationId xmlns:a16="http://schemas.microsoft.com/office/drawing/2014/main" id="{7D848554-7EF6-4967-936C-30BF198ADDB3}"/>
              </a:ext>
            </a:extLst>
          </p:cNvPr>
          <p:cNvSpPr txBox="1"/>
          <p:nvPr/>
        </p:nvSpPr>
        <p:spPr>
          <a:xfrm>
            <a:off x="3405238" y="2389149"/>
            <a:ext cx="2445249" cy="2215991"/>
          </a:xfrm>
          <a:prstGeom prst="rect">
            <a:avLst/>
          </a:prstGeom>
          <a:noFill/>
        </p:spPr>
        <p:txBody>
          <a:bodyPr wrap="square" rtlCol="0">
            <a:spAutoFit/>
          </a:bodyPr>
          <a:lstStyle/>
          <a:p>
            <a:pPr algn="ctr"/>
            <a:r>
              <a:rPr lang="en-US" altLang="zh-CN" sz="13800" dirty="0">
                <a:solidFill>
                  <a:schemeClr val="bg1"/>
                </a:solidFill>
                <a:cs typeface="+mn-ea"/>
                <a:sym typeface="+mn-lt"/>
              </a:rPr>
              <a:t>04</a:t>
            </a:r>
            <a:endParaRPr lang="zh-CN" altLang="en-US" sz="13800" dirty="0">
              <a:solidFill>
                <a:schemeClr val="bg1"/>
              </a:solidFill>
              <a:cs typeface="+mn-ea"/>
              <a:sym typeface="+mn-lt"/>
            </a:endParaRPr>
          </a:p>
        </p:txBody>
      </p:sp>
      <p:sp>
        <p:nvSpPr>
          <p:cNvPr id="4" name="文本框 3">
            <a:extLst>
              <a:ext uri="{FF2B5EF4-FFF2-40B4-BE49-F238E27FC236}">
                <a16:creationId xmlns:a16="http://schemas.microsoft.com/office/drawing/2014/main" id="{218CA210-F14E-4590-92B8-8DBAAAAC40FA}"/>
              </a:ext>
            </a:extLst>
          </p:cNvPr>
          <p:cNvSpPr txBox="1"/>
          <p:nvPr/>
        </p:nvSpPr>
        <p:spPr>
          <a:xfrm>
            <a:off x="5731644" y="2892775"/>
            <a:ext cx="4726113" cy="923330"/>
          </a:xfrm>
          <a:prstGeom prst="rect">
            <a:avLst/>
          </a:prstGeom>
          <a:noFill/>
        </p:spPr>
        <p:txBody>
          <a:bodyPr wrap="square" rtlCol="0">
            <a:spAutoFit/>
          </a:bodyPr>
          <a:lstStyle/>
          <a:p>
            <a:r>
              <a:rPr lang="zh-CN" altLang="en-US" sz="5400" dirty="0">
                <a:solidFill>
                  <a:schemeClr val="bg1"/>
                </a:solidFill>
                <a:latin typeface="黑体" panose="02010609060101010101" pitchFamily="49" charset="-122"/>
                <a:ea typeface="黑体" panose="02010609060101010101" pitchFamily="49" charset="-122"/>
                <a:cs typeface="+mn-ea"/>
                <a:sym typeface="+mn-lt"/>
              </a:rPr>
              <a:t>遇到问题</a:t>
            </a:r>
          </a:p>
        </p:txBody>
      </p:sp>
    </p:spTree>
    <p:extLst>
      <p:ext uri="{BB962C8B-B14F-4D97-AF65-F5344CB8AC3E}">
        <p14:creationId xmlns:p14="http://schemas.microsoft.com/office/powerpoint/2010/main" val="4136661390"/>
      </p:ext>
    </p:extLst>
  </p:cSld>
  <p:clrMapOvr>
    <a:masterClrMapping/>
  </p:clrMapOvr>
  <mc:AlternateContent xmlns:mc="http://schemas.openxmlformats.org/markup-compatibility/2006" xmlns:p14="http://schemas.microsoft.com/office/powerpoint/2010/main">
    <mc:Choice Requires="p14">
      <p:transition spd="med" p14:dur="700" advClick="0" advTm="382">
        <p:fade/>
      </p:transition>
    </mc:Choice>
    <mc:Fallback xmlns="">
      <p:transition spd="med" advClick="0" advTm="38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组合 36"/>
          <p:cNvGrpSpPr/>
          <p:nvPr/>
        </p:nvGrpSpPr>
        <p:grpSpPr>
          <a:xfrm>
            <a:off x="331703" y="341952"/>
            <a:ext cx="2047550" cy="573804"/>
            <a:chOff x="331703" y="341952"/>
            <a:chExt cx="2047550" cy="573804"/>
          </a:xfrm>
        </p:grpSpPr>
        <p:sp>
          <p:nvSpPr>
            <p:cNvPr id="39" name="文本框 3"/>
            <p:cNvSpPr txBox="1"/>
            <p:nvPr/>
          </p:nvSpPr>
          <p:spPr>
            <a:xfrm>
              <a:off x="811644" y="341952"/>
              <a:ext cx="156760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等线" panose="02010600030101010101" pitchFamily="2" charset="-122"/>
                  <a:ea typeface="等线" panose="02010600030101010101" pitchFamily="2" charset="-122"/>
                  <a:cs typeface="+mn-ea"/>
                  <a:sym typeface="+mn-lt"/>
                </a:rPr>
                <a:t>遇到问题</a:t>
              </a:r>
            </a:p>
          </p:txBody>
        </p:sp>
        <p:sp>
          <p:nvSpPr>
            <p:cNvPr id="40" name="平行四边形 39"/>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7" name="文本框 6">
            <a:extLst>
              <a:ext uri="{FF2B5EF4-FFF2-40B4-BE49-F238E27FC236}">
                <a16:creationId xmlns:a16="http://schemas.microsoft.com/office/drawing/2014/main" id="{8B1751AC-E62D-54C3-B0C7-1295F41E43FD}"/>
              </a:ext>
            </a:extLst>
          </p:cNvPr>
          <p:cNvSpPr txBox="1"/>
          <p:nvPr/>
        </p:nvSpPr>
        <p:spPr>
          <a:xfrm>
            <a:off x="1900236" y="1950630"/>
            <a:ext cx="9053513" cy="1200329"/>
          </a:xfrm>
          <a:prstGeom prst="rect">
            <a:avLst/>
          </a:prstGeom>
          <a:noFill/>
        </p:spPr>
        <p:txBody>
          <a:bodyPr wrap="square">
            <a:spAutoFit/>
          </a:bodyPr>
          <a:lstStyle/>
          <a:p>
            <a:r>
              <a:rPr lang="zh-CN" altLang="en-US" dirty="0">
                <a:latin typeface="等线" panose="02010600030101010101" pitchFamily="2" charset="-122"/>
                <a:ea typeface="等线" panose="02010600030101010101" pitchFamily="2" charset="-122"/>
              </a:rPr>
              <a:t>(error) MISCONF Redis is configured to save RDB snapshots, but it is currently not able to persist on disk. Commands that may modify the data set are disabled, because this instance is configured to report errors during writes if RDB snapshotting fails (stop-writes-on-bgsave-error option). Please check the Redis logs for details about the RDB error.</a:t>
            </a:r>
          </a:p>
        </p:txBody>
      </p:sp>
      <p:sp>
        <p:nvSpPr>
          <p:cNvPr id="8" name="文本框 7">
            <a:extLst>
              <a:ext uri="{FF2B5EF4-FFF2-40B4-BE49-F238E27FC236}">
                <a16:creationId xmlns:a16="http://schemas.microsoft.com/office/drawing/2014/main" id="{EFD216BE-DA8C-1F0C-8608-00373D85CD6D}"/>
              </a:ext>
            </a:extLst>
          </p:cNvPr>
          <p:cNvSpPr txBox="1"/>
          <p:nvPr/>
        </p:nvSpPr>
        <p:spPr>
          <a:xfrm>
            <a:off x="1065280" y="1950630"/>
            <a:ext cx="1838325" cy="400110"/>
          </a:xfrm>
          <a:prstGeom prst="rect">
            <a:avLst/>
          </a:prstGeom>
          <a:noFill/>
        </p:spPr>
        <p:txBody>
          <a:bodyPr wrap="square" rtlCol="0">
            <a:spAutoFit/>
          </a:bodyPr>
          <a:lstStyle/>
          <a:p>
            <a:r>
              <a:rPr lang="zh-CN" altLang="en-US" sz="2000" dirty="0">
                <a:latin typeface="等线" panose="02010600030101010101" pitchFamily="2" charset="-122"/>
                <a:ea typeface="等线" panose="02010600030101010101" pitchFamily="2" charset="-122"/>
              </a:rPr>
              <a:t>报错：</a:t>
            </a:r>
          </a:p>
        </p:txBody>
      </p:sp>
      <p:sp>
        <p:nvSpPr>
          <p:cNvPr id="9" name="矩形 16">
            <a:extLst>
              <a:ext uri="{FF2B5EF4-FFF2-40B4-BE49-F238E27FC236}">
                <a16:creationId xmlns:a16="http://schemas.microsoft.com/office/drawing/2014/main" id="{B92C7BB9-2B9C-6785-0E8F-D6389CBDCF99}"/>
              </a:ext>
            </a:extLst>
          </p:cNvPr>
          <p:cNvSpPr/>
          <p:nvPr/>
        </p:nvSpPr>
        <p:spPr>
          <a:xfrm>
            <a:off x="1065280" y="1249988"/>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en-US" altLang="zh-CN"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Redis</a:t>
            </a: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持久化问题</a:t>
            </a:r>
          </a:p>
        </p:txBody>
      </p:sp>
      <p:pic>
        <p:nvPicPr>
          <p:cNvPr id="11" name="图片 10">
            <a:extLst>
              <a:ext uri="{FF2B5EF4-FFF2-40B4-BE49-F238E27FC236}">
                <a16:creationId xmlns:a16="http://schemas.microsoft.com/office/drawing/2014/main" id="{9DF8CED7-AFF4-C97A-FF51-55D5B9CF29AC}"/>
              </a:ext>
            </a:extLst>
          </p:cNvPr>
          <p:cNvPicPr>
            <a:picLocks noChangeAspect="1"/>
          </p:cNvPicPr>
          <p:nvPr/>
        </p:nvPicPr>
        <p:blipFill>
          <a:blip r:embed="rId4"/>
          <a:stretch>
            <a:fillRect/>
          </a:stretch>
        </p:blipFill>
        <p:spPr>
          <a:xfrm>
            <a:off x="4891522" y="3512341"/>
            <a:ext cx="7023461" cy="3060857"/>
          </a:xfrm>
          <a:prstGeom prst="rect">
            <a:avLst/>
          </a:prstGeom>
        </p:spPr>
      </p:pic>
      <p:sp>
        <p:nvSpPr>
          <p:cNvPr id="2" name="文本框 1">
            <a:extLst>
              <a:ext uri="{FF2B5EF4-FFF2-40B4-BE49-F238E27FC236}">
                <a16:creationId xmlns:a16="http://schemas.microsoft.com/office/drawing/2014/main" id="{8E6F1C65-85AA-63CA-F37B-006537A8B16E}"/>
              </a:ext>
            </a:extLst>
          </p:cNvPr>
          <p:cNvSpPr txBox="1"/>
          <p:nvPr/>
        </p:nvSpPr>
        <p:spPr>
          <a:xfrm>
            <a:off x="1052002" y="4070393"/>
            <a:ext cx="3703206" cy="923330"/>
          </a:xfrm>
          <a:prstGeom prst="rect">
            <a:avLst/>
          </a:prstGeom>
          <a:noFill/>
        </p:spPr>
        <p:txBody>
          <a:bodyPr wrap="square" rtlCol="0">
            <a:spAutoFit/>
          </a:bodyPr>
          <a:lstStyle/>
          <a:p>
            <a:r>
              <a:rPr lang="zh-CN" altLang="en-US" dirty="0">
                <a:latin typeface="等线" panose="02010600030101010101" pitchFamily="2" charset="-122"/>
                <a:ea typeface="等线" panose="02010600030101010101" pitchFamily="2" charset="-122"/>
              </a:rPr>
              <a:t>解决方案：</a:t>
            </a:r>
            <a:endParaRPr lang="en-US" altLang="zh-CN" dirty="0">
              <a:latin typeface="等线" panose="02010600030101010101" pitchFamily="2" charset="-122"/>
              <a:ea typeface="等线" panose="02010600030101010101" pitchFamily="2" charset="-122"/>
            </a:endParaRPr>
          </a:p>
          <a:p>
            <a:r>
              <a:rPr lang="en-US" altLang="zh-CN" dirty="0">
                <a:latin typeface="等线" panose="02010600030101010101" pitchFamily="2" charset="-122"/>
                <a:ea typeface="等线" panose="02010600030101010101" pitchFamily="2" charset="-122"/>
              </a:rPr>
              <a:t>config set stop-writes-on-</a:t>
            </a:r>
            <a:r>
              <a:rPr lang="en-US" altLang="zh-CN" dirty="0" err="1">
                <a:latin typeface="等线" panose="02010600030101010101" pitchFamily="2" charset="-122"/>
                <a:ea typeface="等线" panose="02010600030101010101" pitchFamily="2" charset="-122"/>
              </a:rPr>
              <a:t>bgsave</a:t>
            </a:r>
            <a:r>
              <a:rPr lang="en-US" altLang="zh-CN" dirty="0">
                <a:latin typeface="等线" panose="02010600030101010101" pitchFamily="2" charset="-122"/>
                <a:ea typeface="等线" panose="02010600030101010101" pitchFamily="2" charset="-122"/>
              </a:rPr>
              <a:t>-error no</a:t>
            </a:r>
            <a:endParaRPr lang="zh-CN" altLang="en-US" dirty="0">
              <a:latin typeface="等线" panose="02010600030101010101" pitchFamily="2" charset="-122"/>
              <a:ea typeface="等线" panose="02010600030101010101" pitchFamily="2" charset="-122"/>
            </a:endParaRPr>
          </a:p>
        </p:txBody>
      </p:sp>
      <p:pic>
        <p:nvPicPr>
          <p:cNvPr id="4" name="图片 3">
            <a:extLst>
              <a:ext uri="{FF2B5EF4-FFF2-40B4-BE49-F238E27FC236}">
                <a16:creationId xmlns:a16="http://schemas.microsoft.com/office/drawing/2014/main" id="{F3071636-9FD4-E935-F389-EC09445EE1D6}"/>
              </a:ext>
            </a:extLst>
          </p:cNvPr>
          <p:cNvPicPr>
            <a:picLocks noChangeAspect="1"/>
          </p:cNvPicPr>
          <p:nvPr/>
        </p:nvPicPr>
        <p:blipFill>
          <a:blip r:embed="rId5"/>
          <a:stretch>
            <a:fillRect/>
          </a:stretch>
        </p:blipFill>
        <p:spPr>
          <a:xfrm>
            <a:off x="331703" y="4993723"/>
            <a:ext cx="4853783" cy="662247"/>
          </a:xfrm>
          <a:prstGeom prst="rect">
            <a:avLst/>
          </a:prstGeom>
        </p:spPr>
      </p:pic>
    </p:spTree>
    <p:custDataLst>
      <p:tags r:id="rId1"/>
    </p:custDataLst>
    <p:extLst>
      <p:ext uri="{BB962C8B-B14F-4D97-AF65-F5344CB8AC3E}">
        <p14:creationId xmlns:p14="http://schemas.microsoft.com/office/powerpoint/2010/main" val="2343644663"/>
      </p:ext>
    </p:extLst>
  </p:cSld>
  <p:clrMapOvr>
    <a:masterClrMapping/>
  </p:clrMapOvr>
  <mc:AlternateContent xmlns:mc="http://schemas.openxmlformats.org/markup-compatibility/2006" xmlns:p14="http://schemas.microsoft.com/office/powerpoint/2010/main">
    <mc:Choice Requires="p14">
      <p:transition spd="med" p14:dur="700" advTm="6983">
        <p:fade/>
      </p:transition>
    </mc:Choice>
    <mc:Fallback xmlns="">
      <p:transition spd="med" advTm="6983">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泪滴形 18"/>
          <p:cNvSpPr/>
          <p:nvPr/>
        </p:nvSpPr>
        <p:spPr>
          <a:xfrm>
            <a:off x="8413831" y="0"/>
            <a:ext cx="2536664" cy="1387949"/>
          </a:xfrm>
          <a:prstGeom prst="teardrop">
            <a:avLst/>
          </a:prstGeom>
          <a:solidFill>
            <a:srgbClr val="E22D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13" name="副标题 4"/>
          <p:cNvSpPr>
            <a:spLocks noGrp="1"/>
          </p:cNvSpPr>
          <p:nvPr>
            <p:ph type="subTitle" idx="4294967295"/>
          </p:nvPr>
        </p:nvSpPr>
        <p:spPr>
          <a:xfrm>
            <a:off x="-122191" y="4172217"/>
            <a:ext cx="5954466" cy="635826"/>
          </a:xfrm>
        </p:spPr>
        <p:txBody>
          <a:bodyPr>
            <a:normAutofit/>
          </a:bodyPr>
          <a:lstStyle/>
          <a:p>
            <a:pPr>
              <a:lnSpc>
                <a:spcPct val="127000"/>
              </a:lnSpc>
              <a:tabLst>
                <a:tab pos="5203825" algn="l"/>
              </a:tabLst>
            </a:pPr>
            <a:r>
              <a:rPr lang="zh-CN" altLang="en-US" sz="800" dirty="0">
                <a:cs typeface="+mn-ea"/>
                <a:sym typeface="+mn-lt"/>
              </a:rPr>
              <a:t>in this box, and select only the text. Your content to play here, or through your copy, paste in this box, and select only the text. Your content to play here, or through your copy, paste in this box, and select only the text. </a:t>
            </a:r>
          </a:p>
        </p:txBody>
      </p:sp>
      <p:sp>
        <p:nvSpPr>
          <p:cNvPr id="14" name="标题 3"/>
          <p:cNvSpPr>
            <a:spLocks noGrp="1"/>
          </p:cNvSpPr>
          <p:nvPr>
            <p:ph type="ctrTitle" idx="4294967295"/>
          </p:nvPr>
        </p:nvSpPr>
        <p:spPr>
          <a:xfrm>
            <a:off x="1078620" y="1886133"/>
            <a:ext cx="8393517" cy="1516952"/>
          </a:xfrm>
          <a:prstGeom prst="rect">
            <a:avLst/>
          </a:prstGeom>
        </p:spPr>
        <p:txBody>
          <a:bodyPr>
            <a:noAutofit/>
          </a:bodyPr>
          <a:lstStyle/>
          <a:p>
            <a:r>
              <a:rPr lang="zh-CN" altLang="en-US" sz="7200" b="0" dirty="0">
                <a:solidFill>
                  <a:srgbClr val="E22D36"/>
                </a:solidFill>
                <a:latin typeface="+mn-lt"/>
                <a:ea typeface="+mn-ea"/>
                <a:cs typeface="+mn-ea"/>
                <a:sym typeface="+mn-lt"/>
              </a:rPr>
              <a:t>谢谢观看</a:t>
            </a:r>
          </a:p>
        </p:txBody>
      </p:sp>
      <p:sp>
        <p:nvSpPr>
          <p:cNvPr id="15" name="标题 3"/>
          <p:cNvSpPr txBox="1">
            <a:spLocks/>
          </p:cNvSpPr>
          <p:nvPr/>
        </p:nvSpPr>
        <p:spPr>
          <a:xfrm flipH="1">
            <a:off x="8787741" y="-447537"/>
            <a:ext cx="5317218" cy="1476237"/>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sz="5400" b="0" dirty="0">
              <a:solidFill>
                <a:schemeClr val="bg1"/>
              </a:solidFill>
              <a:latin typeface="+mn-lt"/>
              <a:ea typeface="+mn-ea"/>
              <a:cs typeface="+mn-ea"/>
              <a:sym typeface="+mn-lt"/>
            </a:endParaRPr>
          </a:p>
        </p:txBody>
      </p:sp>
      <p:sp>
        <p:nvSpPr>
          <p:cNvPr id="20" name="标题 3"/>
          <p:cNvSpPr txBox="1">
            <a:spLocks/>
          </p:cNvSpPr>
          <p:nvPr/>
        </p:nvSpPr>
        <p:spPr>
          <a:xfrm>
            <a:off x="196433" y="1969933"/>
            <a:ext cx="5317218" cy="1476237"/>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sz="7200" dirty="0">
              <a:solidFill>
                <a:srgbClr val="E22D36"/>
              </a:solidFill>
              <a:latin typeface="+mn-lt"/>
              <a:ea typeface="+mn-ea"/>
              <a:cs typeface="+mn-ea"/>
              <a:sym typeface="+mn-lt"/>
            </a:endParaRPr>
          </a:p>
        </p:txBody>
      </p:sp>
    </p:spTree>
    <p:extLst>
      <p:ext uri="{BB962C8B-B14F-4D97-AF65-F5344CB8AC3E}">
        <p14:creationId xmlns:p14="http://schemas.microsoft.com/office/powerpoint/2010/main" val="2235536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advTm="4445">
        <p15:prstTrans prst="curtains"/>
      </p:transition>
    </mc:Choice>
    <mc:Fallback xmlns="">
      <p:transition spd="slow" advTm="444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14" presetClass="entr" presetSubtype="10" fill="hold" grpId="0" nodeType="after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animEffect transition="in" filter="randombar(horizontal)">
                                      <p:cBhvr>
                                        <p:cTn id="25"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4" grpId="0"/>
      <p:bldP spid="15" grpId="0"/>
      <p:bldP spid="2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cstate="print">
            <a:extLst>
              <a:ext uri="{28A0092B-C50C-407E-A947-70E740481C1C}">
                <a14:useLocalDpi xmlns:a14="http://schemas.microsoft.com/office/drawing/2010/main" val="0"/>
              </a:ext>
            </a:extLst>
          </a:blip>
          <a:srcRect t="32028" b="31834"/>
          <a:stretch/>
        </p:blipFill>
        <p:spPr>
          <a:xfrm>
            <a:off x="0" y="-41949"/>
            <a:ext cx="12192000" cy="2819401"/>
          </a:xfrm>
          <a:prstGeom prst="rect">
            <a:avLst/>
          </a:prstGeom>
        </p:spPr>
      </p:pic>
      <p:grpSp>
        <p:nvGrpSpPr>
          <p:cNvPr id="23" name="组合 22">
            <a:extLst>
              <a:ext uri="{FF2B5EF4-FFF2-40B4-BE49-F238E27FC236}">
                <a16:creationId xmlns:a16="http://schemas.microsoft.com/office/drawing/2014/main" id="{0F311CF8-7060-48BA-8E4D-5516993B41BF}"/>
              </a:ext>
            </a:extLst>
          </p:cNvPr>
          <p:cNvGrpSpPr/>
          <p:nvPr/>
        </p:nvGrpSpPr>
        <p:grpSpPr>
          <a:xfrm>
            <a:off x="1827487" y="2977808"/>
            <a:ext cx="7809238" cy="1439862"/>
            <a:chOff x="1378527" y="2760308"/>
            <a:chExt cx="7809238" cy="1765290"/>
          </a:xfrm>
        </p:grpSpPr>
        <p:grpSp>
          <p:nvGrpSpPr>
            <p:cNvPr id="7" name="组合 6">
              <a:extLst>
                <a:ext uri="{FF2B5EF4-FFF2-40B4-BE49-F238E27FC236}">
                  <a16:creationId xmlns:a16="http://schemas.microsoft.com/office/drawing/2014/main" id="{4FCACE13-2870-4F4D-8200-09543731D6ED}"/>
                </a:ext>
              </a:extLst>
            </p:cNvPr>
            <p:cNvGrpSpPr/>
            <p:nvPr/>
          </p:nvGrpSpPr>
          <p:grpSpPr>
            <a:xfrm>
              <a:off x="1378528" y="2760308"/>
              <a:ext cx="4195564" cy="597583"/>
              <a:chOff x="2479964" y="1821099"/>
              <a:chExt cx="4195564" cy="597583"/>
            </a:xfrm>
          </p:grpSpPr>
          <p:sp>
            <p:nvSpPr>
              <p:cNvPr id="3" name="文本框 2">
                <a:extLst>
                  <a:ext uri="{FF2B5EF4-FFF2-40B4-BE49-F238E27FC236}">
                    <a16:creationId xmlns:a16="http://schemas.microsoft.com/office/drawing/2014/main" id="{BD4C17CC-2A3E-4CD6-BD16-48EDA594B248}"/>
                  </a:ext>
                </a:extLst>
              </p:cNvPr>
              <p:cNvSpPr txBox="1"/>
              <p:nvPr/>
            </p:nvSpPr>
            <p:spPr>
              <a:xfrm>
                <a:off x="3168399" y="1821099"/>
                <a:ext cx="3507129" cy="461665"/>
              </a:xfrm>
              <a:prstGeom prst="rect">
                <a:avLst/>
              </a:prstGeom>
              <a:noFill/>
            </p:spPr>
            <p:txBody>
              <a:bodyPr wrap="square" rtlCol="0">
                <a:spAutoFit/>
              </a:bodyPr>
              <a:lstStyle/>
              <a:p>
                <a:r>
                  <a:rPr lang="zh-CN" altLang="en-US" sz="2400" dirty="0">
                    <a:solidFill>
                      <a:srgbClr val="E4202C"/>
                    </a:solidFill>
                    <a:cs typeface="+mn-ea"/>
                    <a:sym typeface="+mn-lt"/>
                  </a:rPr>
                  <a:t>开发思路</a:t>
                </a:r>
              </a:p>
            </p:txBody>
          </p:sp>
          <p:sp>
            <p:nvSpPr>
              <p:cNvPr id="5" name="矩形 4">
                <a:extLst>
                  <a:ext uri="{FF2B5EF4-FFF2-40B4-BE49-F238E27FC236}">
                    <a16:creationId xmlns:a16="http://schemas.microsoft.com/office/drawing/2014/main" id="{3F9C15E0-2AAD-40CD-B519-8346CDFC7482}"/>
                  </a:ext>
                </a:extLst>
              </p:cNvPr>
              <p:cNvSpPr/>
              <p:nvPr/>
            </p:nvSpPr>
            <p:spPr>
              <a:xfrm>
                <a:off x="2479964" y="1892209"/>
                <a:ext cx="581891" cy="526473"/>
              </a:xfrm>
              <a:prstGeom prst="rect">
                <a:avLst/>
              </a:prstGeom>
              <a:solidFill>
                <a:srgbClr val="E420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cs typeface="+mn-ea"/>
                    <a:sym typeface="+mn-lt"/>
                  </a:rPr>
                  <a:t>01</a:t>
                </a:r>
                <a:endParaRPr lang="zh-CN" altLang="en-US" dirty="0">
                  <a:cs typeface="+mn-ea"/>
                  <a:sym typeface="+mn-lt"/>
                </a:endParaRPr>
              </a:p>
            </p:txBody>
          </p:sp>
        </p:grpSp>
        <p:grpSp>
          <p:nvGrpSpPr>
            <p:cNvPr id="8" name="组合 7">
              <a:extLst>
                <a:ext uri="{FF2B5EF4-FFF2-40B4-BE49-F238E27FC236}">
                  <a16:creationId xmlns:a16="http://schemas.microsoft.com/office/drawing/2014/main" id="{856CB3E8-9F65-4250-9E55-AA5A79D52C60}"/>
                </a:ext>
              </a:extLst>
            </p:cNvPr>
            <p:cNvGrpSpPr/>
            <p:nvPr/>
          </p:nvGrpSpPr>
          <p:grpSpPr>
            <a:xfrm>
              <a:off x="4992201" y="2834812"/>
              <a:ext cx="4195564" cy="526473"/>
              <a:chOff x="6093637" y="287702"/>
              <a:chExt cx="4195564" cy="526473"/>
            </a:xfrm>
          </p:grpSpPr>
          <p:sp>
            <p:nvSpPr>
              <p:cNvPr id="11" name="文本框 10">
                <a:extLst>
                  <a:ext uri="{FF2B5EF4-FFF2-40B4-BE49-F238E27FC236}">
                    <a16:creationId xmlns:a16="http://schemas.microsoft.com/office/drawing/2014/main" id="{F6987249-FFA2-4C2B-91FB-2DF82D332E3F}"/>
                  </a:ext>
                </a:extLst>
              </p:cNvPr>
              <p:cNvSpPr txBox="1"/>
              <p:nvPr/>
            </p:nvSpPr>
            <p:spPr>
              <a:xfrm>
                <a:off x="6782072" y="352508"/>
                <a:ext cx="3507129" cy="461665"/>
              </a:xfrm>
              <a:prstGeom prst="rect">
                <a:avLst/>
              </a:prstGeom>
              <a:noFill/>
            </p:spPr>
            <p:txBody>
              <a:bodyPr wrap="square" rtlCol="0">
                <a:spAutoFit/>
              </a:bodyPr>
              <a:lstStyle/>
              <a:p>
                <a:r>
                  <a:rPr lang="zh-CN" altLang="en-US" sz="2400" dirty="0">
                    <a:solidFill>
                      <a:srgbClr val="E4202C"/>
                    </a:solidFill>
                    <a:latin typeface="黑体" panose="02010609060101010101" pitchFamily="49" charset="-122"/>
                    <a:ea typeface="黑体" panose="02010609060101010101" pitchFamily="49" charset="-122"/>
                    <a:cs typeface="+mn-ea"/>
                    <a:sym typeface="+mn-lt"/>
                  </a:rPr>
                  <a:t>功能演示</a:t>
                </a:r>
              </a:p>
            </p:txBody>
          </p:sp>
          <p:sp>
            <p:nvSpPr>
              <p:cNvPr id="10" name="矩形 9">
                <a:extLst>
                  <a:ext uri="{FF2B5EF4-FFF2-40B4-BE49-F238E27FC236}">
                    <a16:creationId xmlns:a16="http://schemas.microsoft.com/office/drawing/2014/main" id="{7B730385-90F0-4B60-A908-803FE32A3D0A}"/>
                  </a:ext>
                </a:extLst>
              </p:cNvPr>
              <p:cNvSpPr/>
              <p:nvPr/>
            </p:nvSpPr>
            <p:spPr>
              <a:xfrm>
                <a:off x="6093637" y="287702"/>
                <a:ext cx="581891" cy="526473"/>
              </a:xfrm>
              <a:prstGeom prst="rect">
                <a:avLst/>
              </a:prstGeom>
              <a:solidFill>
                <a:srgbClr val="E420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cs typeface="+mn-ea"/>
                    <a:sym typeface="+mn-lt"/>
                  </a:rPr>
                  <a:t>02</a:t>
                </a:r>
                <a:endParaRPr lang="zh-CN" altLang="en-US" dirty="0">
                  <a:cs typeface="+mn-ea"/>
                  <a:sym typeface="+mn-lt"/>
                </a:endParaRPr>
              </a:p>
            </p:txBody>
          </p:sp>
        </p:grpSp>
        <p:grpSp>
          <p:nvGrpSpPr>
            <p:cNvPr id="18" name="组合 17">
              <a:extLst>
                <a:ext uri="{FF2B5EF4-FFF2-40B4-BE49-F238E27FC236}">
                  <a16:creationId xmlns:a16="http://schemas.microsoft.com/office/drawing/2014/main" id="{DCF6B7B2-4AC5-44F3-BD07-6886B5A89991}"/>
                </a:ext>
              </a:extLst>
            </p:cNvPr>
            <p:cNvGrpSpPr/>
            <p:nvPr/>
          </p:nvGrpSpPr>
          <p:grpSpPr>
            <a:xfrm>
              <a:off x="1378527" y="3929409"/>
              <a:ext cx="4143323" cy="596189"/>
              <a:chOff x="-2410691" y="1382299"/>
              <a:chExt cx="4143323" cy="596189"/>
            </a:xfrm>
          </p:grpSpPr>
          <p:sp>
            <p:nvSpPr>
              <p:cNvPr id="21" name="文本框 20">
                <a:extLst>
                  <a:ext uri="{FF2B5EF4-FFF2-40B4-BE49-F238E27FC236}">
                    <a16:creationId xmlns:a16="http://schemas.microsoft.com/office/drawing/2014/main" id="{B8B02E69-6526-408D-8B7D-2C3D8DAC0D97}"/>
                  </a:ext>
                </a:extLst>
              </p:cNvPr>
              <p:cNvSpPr txBox="1"/>
              <p:nvPr/>
            </p:nvSpPr>
            <p:spPr>
              <a:xfrm>
                <a:off x="-1774497" y="1412481"/>
                <a:ext cx="3507129" cy="566007"/>
              </a:xfrm>
              <a:prstGeom prst="rect">
                <a:avLst/>
              </a:prstGeom>
              <a:noFill/>
            </p:spPr>
            <p:txBody>
              <a:bodyPr wrap="square" rtlCol="0">
                <a:spAutoFit/>
              </a:bodyPr>
              <a:lstStyle/>
              <a:p>
                <a:r>
                  <a:rPr lang="zh-CN" altLang="en-US" sz="2400" dirty="0">
                    <a:solidFill>
                      <a:srgbClr val="E4202C"/>
                    </a:solidFill>
                    <a:latin typeface="黑体" panose="02010609060101010101" pitchFamily="49" charset="-122"/>
                    <a:ea typeface="黑体" panose="02010609060101010101" pitchFamily="49" charset="-122"/>
                    <a:cs typeface="+mn-ea"/>
                    <a:sym typeface="+mn-lt"/>
                  </a:rPr>
                  <a:t>技术亮点</a:t>
                </a:r>
              </a:p>
            </p:txBody>
          </p:sp>
          <p:sp>
            <p:nvSpPr>
              <p:cNvPr id="20" name="矩形 19">
                <a:extLst>
                  <a:ext uri="{FF2B5EF4-FFF2-40B4-BE49-F238E27FC236}">
                    <a16:creationId xmlns:a16="http://schemas.microsoft.com/office/drawing/2014/main" id="{9086AAF8-B7B4-4395-9B61-93E659F309B3}"/>
                  </a:ext>
                </a:extLst>
              </p:cNvPr>
              <p:cNvSpPr/>
              <p:nvPr/>
            </p:nvSpPr>
            <p:spPr>
              <a:xfrm>
                <a:off x="-2410691" y="1382299"/>
                <a:ext cx="581891" cy="526473"/>
              </a:xfrm>
              <a:prstGeom prst="rect">
                <a:avLst/>
              </a:prstGeom>
              <a:solidFill>
                <a:srgbClr val="E420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cs typeface="+mn-ea"/>
                    <a:sym typeface="+mn-lt"/>
                  </a:rPr>
                  <a:t>03</a:t>
                </a:r>
              </a:p>
            </p:txBody>
          </p:sp>
        </p:grpSp>
      </p:grpSp>
      <p:sp>
        <p:nvSpPr>
          <p:cNvPr id="24" name="文本框 23">
            <a:extLst>
              <a:ext uri="{FF2B5EF4-FFF2-40B4-BE49-F238E27FC236}">
                <a16:creationId xmlns:a16="http://schemas.microsoft.com/office/drawing/2014/main" id="{8F78F5B0-5651-4BC9-9FF3-6FE25E7829E0}"/>
              </a:ext>
            </a:extLst>
          </p:cNvPr>
          <p:cNvSpPr txBox="1"/>
          <p:nvPr/>
        </p:nvSpPr>
        <p:spPr>
          <a:xfrm>
            <a:off x="3842650" y="434319"/>
            <a:ext cx="4205162" cy="923330"/>
          </a:xfrm>
          <a:prstGeom prst="rect">
            <a:avLst/>
          </a:prstGeom>
          <a:solidFill>
            <a:srgbClr val="E4222E"/>
          </a:solidFill>
        </p:spPr>
        <p:txBody>
          <a:bodyPr wrap="square" rtlCol="0">
            <a:spAutoFit/>
          </a:bodyPr>
          <a:lstStyle/>
          <a:p>
            <a:pPr algn="ctr"/>
            <a:r>
              <a:rPr lang="zh-CN" altLang="en-US" sz="5400" dirty="0">
                <a:solidFill>
                  <a:schemeClr val="bg1"/>
                </a:solidFill>
                <a:cs typeface="+mn-ea"/>
                <a:sym typeface="+mn-lt"/>
              </a:rPr>
              <a:t>目录</a:t>
            </a:r>
            <a:endParaRPr lang="en-US" altLang="zh-CN" sz="5400" dirty="0">
              <a:solidFill>
                <a:schemeClr val="bg1"/>
              </a:solidFill>
              <a:cs typeface="+mn-ea"/>
              <a:sym typeface="+mn-lt"/>
            </a:endParaRPr>
          </a:p>
        </p:txBody>
      </p:sp>
      <p:sp>
        <p:nvSpPr>
          <p:cNvPr id="25" name="文本框 24">
            <a:extLst>
              <a:ext uri="{FF2B5EF4-FFF2-40B4-BE49-F238E27FC236}">
                <a16:creationId xmlns:a16="http://schemas.microsoft.com/office/drawing/2014/main" id="{AD463FFF-F1F1-47F2-8C24-80AB5660BD61}"/>
              </a:ext>
            </a:extLst>
          </p:cNvPr>
          <p:cNvSpPr txBox="1"/>
          <p:nvPr/>
        </p:nvSpPr>
        <p:spPr>
          <a:xfrm>
            <a:off x="3842650" y="1274858"/>
            <a:ext cx="4205162" cy="923330"/>
          </a:xfrm>
          <a:prstGeom prst="rect">
            <a:avLst/>
          </a:prstGeom>
          <a:solidFill>
            <a:srgbClr val="E22D36"/>
          </a:solidFill>
        </p:spPr>
        <p:txBody>
          <a:bodyPr wrap="square" rtlCol="0">
            <a:spAutoFit/>
          </a:bodyPr>
          <a:lstStyle/>
          <a:p>
            <a:pPr algn="ctr"/>
            <a:r>
              <a:rPr lang="en-US" altLang="zh-CN" sz="5400" dirty="0">
                <a:solidFill>
                  <a:schemeClr val="bg1"/>
                </a:solidFill>
                <a:cs typeface="+mn-ea"/>
                <a:sym typeface="+mn-lt"/>
              </a:rPr>
              <a:t>CONTENTS</a:t>
            </a:r>
          </a:p>
        </p:txBody>
      </p:sp>
      <p:sp>
        <p:nvSpPr>
          <p:cNvPr id="26" name="矩形 25">
            <a:extLst>
              <a:ext uri="{FF2B5EF4-FFF2-40B4-BE49-F238E27FC236}">
                <a16:creationId xmlns:a16="http://schemas.microsoft.com/office/drawing/2014/main" id="{FBADF7FD-EBE1-2963-0240-E10F7A0EAC49}"/>
              </a:ext>
            </a:extLst>
          </p:cNvPr>
          <p:cNvSpPr/>
          <p:nvPr/>
        </p:nvSpPr>
        <p:spPr>
          <a:xfrm>
            <a:off x="5441160" y="3911185"/>
            <a:ext cx="581891" cy="429419"/>
          </a:xfrm>
          <a:prstGeom prst="rect">
            <a:avLst/>
          </a:prstGeom>
          <a:solidFill>
            <a:srgbClr val="E420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cs typeface="+mn-ea"/>
                <a:sym typeface="+mn-lt"/>
              </a:rPr>
              <a:t>04</a:t>
            </a:r>
            <a:endParaRPr lang="zh-CN" altLang="en-US" dirty="0">
              <a:cs typeface="+mn-ea"/>
              <a:sym typeface="+mn-lt"/>
            </a:endParaRPr>
          </a:p>
        </p:txBody>
      </p:sp>
      <p:sp>
        <p:nvSpPr>
          <p:cNvPr id="27" name="文本框 26">
            <a:extLst>
              <a:ext uri="{FF2B5EF4-FFF2-40B4-BE49-F238E27FC236}">
                <a16:creationId xmlns:a16="http://schemas.microsoft.com/office/drawing/2014/main" id="{A0B6282E-5A93-6D6B-000B-EB46BC677866}"/>
              </a:ext>
            </a:extLst>
          </p:cNvPr>
          <p:cNvSpPr txBox="1"/>
          <p:nvPr/>
        </p:nvSpPr>
        <p:spPr>
          <a:xfrm>
            <a:off x="6129596" y="3909290"/>
            <a:ext cx="3507129" cy="461665"/>
          </a:xfrm>
          <a:prstGeom prst="rect">
            <a:avLst/>
          </a:prstGeom>
          <a:noFill/>
        </p:spPr>
        <p:txBody>
          <a:bodyPr wrap="square" rtlCol="0">
            <a:spAutoFit/>
          </a:bodyPr>
          <a:lstStyle/>
          <a:p>
            <a:r>
              <a:rPr lang="zh-CN" altLang="en-US" sz="2400" dirty="0">
                <a:solidFill>
                  <a:srgbClr val="E4202C"/>
                </a:solidFill>
                <a:latin typeface="黑体" panose="02010609060101010101" pitchFamily="49" charset="-122"/>
                <a:ea typeface="黑体" panose="02010609060101010101" pitchFamily="49" charset="-122"/>
                <a:cs typeface="+mn-ea"/>
                <a:sym typeface="+mn-lt"/>
              </a:rPr>
              <a:t>遇到问题</a:t>
            </a:r>
          </a:p>
        </p:txBody>
      </p:sp>
    </p:spTree>
    <p:extLst>
      <p:ext uri="{BB962C8B-B14F-4D97-AF65-F5344CB8AC3E}">
        <p14:creationId xmlns:p14="http://schemas.microsoft.com/office/powerpoint/2010/main" val="2985723222"/>
      </p:ext>
    </p:extLst>
  </p:cSld>
  <p:clrMapOvr>
    <a:masterClrMapping/>
  </p:clrMapOvr>
  <p:transition spd="slow" advClick="0" advTm="1513">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randombar(horizontal)">
                                      <p:cBhvr>
                                        <p:cTn id="7" dur="500"/>
                                        <p:tgtEl>
                                          <p:spTgt spid="2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randombar(horizontal)">
                                      <p:cBhvr>
                                        <p:cTn id="10" dur="500"/>
                                        <p:tgtEl>
                                          <p:spTgt spid="25"/>
                                        </p:tgtEl>
                                      </p:cBhvr>
                                    </p:animEffect>
                                  </p:childTnLst>
                                </p:cTn>
                              </p:par>
                            </p:childTnLst>
                          </p:cTn>
                        </p:par>
                        <p:par>
                          <p:cTn id="11" fill="hold">
                            <p:stCondLst>
                              <p:cond delay="500"/>
                            </p:stCondLst>
                            <p:childTnLst>
                              <p:par>
                                <p:cTn id="12" presetID="42" presetClass="entr" presetSubtype="0"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anim calcmode="lin" valueType="num">
                                      <p:cBhvr>
                                        <p:cTn id="15" dur="1000" fill="hold"/>
                                        <p:tgtEl>
                                          <p:spTgt spid="23"/>
                                        </p:tgtEl>
                                        <p:attrNameLst>
                                          <p:attrName>ppt_x</p:attrName>
                                        </p:attrNameLst>
                                      </p:cBhvr>
                                      <p:tavLst>
                                        <p:tav tm="0">
                                          <p:val>
                                            <p:strVal val="#ppt_x"/>
                                          </p:val>
                                        </p:tav>
                                        <p:tav tm="100000">
                                          <p:val>
                                            <p:strVal val="#ppt_x"/>
                                          </p:val>
                                        </p:tav>
                                      </p:tavLst>
                                    </p:anim>
                                    <p:anim calcmode="lin" valueType="num">
                                      <p:cBhvr>
                                        <p:cTn id="1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876A47B8-9847-4BE0-AEC6-33B968BD44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587946"/>
            <a:ext cx="6292276" cy="4026447"/>
          </a:xfrm>
          <a:prstGeom prst="rect">
            <a:avLst/>
          </a:prstGeom>
        </p:spPr>
      </p:pic>
      <p:sp>
        <p:nvSpPr>
          <p:cNvPr id="2" name="矩形 1">
            <a:extLst>
              <a:ext uri="{FF2B5EF4-FFF2-40B4-BE49-F238E27FC236}">
                <a16:creationId xmlns:a16="http://schemas.microsoft.com/office/drawing/2014/main" id="{CA6B0603-6888-4665-92CA-580926EB1361}"/>
              </a:ext>
            </a:extLst>
          </p:cNvPr>
          <p:cNvSpPr/>
          <p:nvPr/>
        </p:nvSpPr>
        <p:spPr>
          <a:xfrm>
            <a:off x="3286395" y="2321004"/>
            <a:ext cx="8102041" cy="2352282"/>
          </a:xfrm>
          <a:prstGeom prst="rect">
            <a:avLst/>
          </a:prstGeom>
          <a:solidFill>
            <a:srgbClr val="E4202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文本框 2">
            <a:extLst>
              <a:ext uri="{FF2B5EF4-FFF2-40B4-BE49-F238E27FC236}">
                <a16:creationId xmlns:a16="http://schemas.microsoft.com/office/drawing/2014/main" id="{7D848554-7EF6-4967-936C-30BF198ADDB3}"/>
              </a:ext>
            </a:extLst>
          </p:cNvPr>
          <p:cNvSpPr txBox="1"/>
          <p:nvPr/>
        </p:nvSpPr>
        <p:spPr>
          <a:xfrm>
            <a:off x="3405238" y="2389149"/>
            <a:ext cx="2445249" cy="2215991"/>
          </a:xfrm>
          <a:prstGeom prst="rect">
            <a:avLst/>
          </a:prstGeom>
          <a:noFill/>
        </p:spPr>
        <p:txBody>
          <a:bodyPr wrap="square" rtlCol="0">
            <a:spAutoFit/>
          </a:bodyPr>
          <a:lstStyle/>
          <a:p>
            <a:pPr algn="ctr"/>
            <a:r>
              <a:rPr lang="en-US" altLang="zh-CN" sz="13800" dirty="0">
                <a:solidFill>
                  <a:schemeClr val="bg1"/>
                </a:solidFill>
                <a:cs typeface="+mn-ea"/>
                <a:sym typeface="+mn-lt"/>
              </a:rPr>
              <a:t>01</a:t>
            </a:r>
            <a:endParaRPr lang="zh-CN" altLang="en-US" sz="13800" dirty="0">
              <a:solidFill>
                <a:schemeClr val="bg1"/>
              </a:solidFill>
              <a:cs typeface="+mn-ea"/>
              <a:sym typeface="+mn-lt"/>
            </a:endParaRPr>
          </a:p>
        </p:txBody>
      </p:sp>
      <p:sp>
        <p:nvSpPr>
          <p:cNvPr id="4" name="文本框 3">
            <a:extLst>
              <a:ext uri="{FF2B5EF4-FFF2-40B4-BE49-F238E27FC236}">
                <a16:creationId xmlns:a16="http://schemas.microsoft.com/office/drawing/2014/main" id="{218CA210-F14E-4590-92B8-8DBAAAAC40FA}"/>
              </a:ext>
            </a:extLst>
          </p:cNvPr>
          <p:cNvSpPr txBox="1"/>
          <p:nvPr/>
        </p:nvSpPr>
        <p:spPr>
          <a:xfrm>
            <a:off x="5517635" y="2967335"/>
            <a:ext cx="4726113" cy="923330"/>
          </a:xfrm>
          <a:prstGeom prst="rect">
            <a:avLst/>
          </a:prstGeom>
          <a:noFill/>
        </p:spPr>
        <p:txBody>
          <a:bodyPr wrap="square" rtlCol="0">
            <a:spAutoFit/>
          </a:bodyPr>
          <a:lstStyle/>
          <a:p>
            <a:r>
              <a:rPr lang="zh-CN" altLang="en-US" sz="5400" dirty="0">
                <a:solidFill>
                  <a:schemeClr val="bg1"/>
                </a:solidFill>
                <a:cs typeface="+mn-ea"/>
                <a:sym typeface="+mn-lt"/>
              </a:rPr>
              <a:t>开发思路</a:t>
            </a:r>
          </a:p>
        </p:txBody>
      </p:sp>
    </p:spTree>
    <p:extLst>
      <p:ext uri="{BB962C8B-B14F-4D97-AF65-F5344CB8AC3E}">
        <p14:creationId xmlns:p14="http://schemas.microsoft.com/office/powerpoint/2010/main" val="34666965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900">
        <p15:prstTrans prst="drape"/>
      </p:transition>
    </mc:Choice>
    <mc:Fallback xmlns="">
      <p:transition spd="slow" advClick="0" advTm="9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331703" y="431610"/>
            <a:ext cx="3058616" cy="496546"/>
            <a:chOff x="331703" y="431610"/>
            <a:chExt cx="3058616" cy="496546"/>
          </a:xfrm>
        </p:grpSpPr>
        <p:sp>
          <p:nvSpPr>
            <p:cNvPr id="59" name="文本框 3"/>
            <p:cNvSpPr txBox="1"/>
            <p:nvPr/>
          </p:nvSpPr>
          <p:spPr>
            <a:xfrm>
              <a:off x="745492" y="431610"/>
              <a:ext cx="2644827"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后台功能流程图</a:t>
              </a:r>
            </a:p>
          </p:txBody>
        </p:sp>
        <p:sp>
          <p:nvSpPr>
            <p:cNvPr id="60" name="平行四边形 59"/>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4" name="图片 3">
            <a:extLst>
              <a:ext uri="{FF2B5EF4-FFF2-40B4-BE49-F238E27FC236}">
                <a16:creationId xmlns:a16="http://schemas.microsoft.com/office/drawing/2014/main" id="{3D51088E-E13B-489C-EE5C-0C8F3CE48312}"/>
              </a:ext>
            </a:extLst>
          </p:cNvPr>
          <p:cNvPicPr>
            <a:picLocks noChangeAspect="1"/>
          </p:cNvPicPr>
          <p:nvPr/>
        </p:nvPicPr>
        <p:blipFill>
          <a:blip r:embed="rId3"/>
          <a:stretch>
            <a:fillRect/>
          </a:stretch>
        </p:blipFill>
        <p:spPr>
          <a:xfrm>
            <a:off x="1300966" y="1072593"/>
            <a:ext cx="8811855" cy="5353797"/>
          </a:xfrm>
          <a:prstGeom prst="rect">
            <a:avLst/>
          </a:prstGeom>
        </p:spPr>
      </p:pic>
    </p:spTree>
    <p:extLst>
      <p:ext uri="{BB962C8B-B14F-4D97-AF65-F5344CB8AC3E}">
        <p14:creationId xmlns:p14="http://schemas.microsoft.com/office/powerpoint/2010/main" val="3691113433"/>
      </p:ext>
    </p:extLst>
  </p:cSld>
  <p:clrMapOvr>
    <a:masterClrMapping/>
  </p:clrMapOvr>
  <mc:AlternateContent xmlns:mc="http://schemas.openxmlformats.org/markup-compatibility/2006" xmlns:p14="http://schemas.microsoft.com/office/powerpoint/2010/main">
    <mc:Choice Requires="p14">
      <p:transition spd="slow" p14:dur="1200" advClick="0" advTm="3273">
        <p14:prism/>
      </p:transition>
    </mc:Choice>
    <mc:Fallback xmlns="">
      <p:transition spd="slow" advClick="0" advTm="3273">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331703" y="341952"/>
            <a:ext cx="3483840" cy="573804"/>
            <a:chOff x="331703" y="341952"/>
            <a:chExt cx="3483840" cy="573804"/>
          </a:xfrm>
        </p:grpSpPr>
        <p:sp>
          <p:nvSpPr>
            <p:cNvPr id="25" name="文本框 3"/>
            <p:cNvSpPr txBox="1"/>
            <p:nvPr/>
          </p:nvSpPr>
          <p:spPr>
            <a:xfrm>
              <a:off x="811644" y="341952"/>
              <a:ext cx="300389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需求分析思维导图</a:t>
              </a:r>
            </a:p>
          </p:txBody>
        </p:sp>
        <p:sp>
          <p:nvSpPr>
            <p:cNvPr id="26" name="平行四边形 25"/>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3" name="图片 2">
            <a:extLst>
              <a:ext uri="{FF2B5EF4-FFF2-40B4-BE49-F238E27FC236}">
                <a16:creationId xmlns:a16="http://schemas.microsoft.com/office/drawing/2014/main" id="{907AE63D-B37B-3993-BF5A-18F7A1A0AA9A}"/>
              </a:ext>
            </a:extLst>
          </p:cNvPr>
          <p:cNvPicPr>
            <a:picLocks noChangeAspect="1"/>
          </p:cNvPicPr>
          <p:nvPr/>
        </p:nvPicPr>
        <p:blipFill>
          <a:blip r:embed="rId3"/>
          <a:stretch>
            <a:fillRect/>
          </a:stretch>
        </p:blipFill>
        <p:spPr>
          <a:xfrm>
            <a:off x="331703" y="1024022"/>
            <a:ext cx="11643047" cy="5627077"/>
          </a:xfrm>
          <a:prstGeom prst="rect">
            <a:avLst/>
          </a:prstGeom>
        </p:spPr>
      </p:pic>
    </p:spTree>
    <p:extLst>
      <p:ext uri="{BB962C8B-B14F-4D97-AF65-F5344CB8AC3E}">
        <p14:creationId xmlns:p14="http://schemas.microsoft.com/office/powerpoint/2010/main" val="794181426"/>
      </p:ext>
    </p:extLst>
  </p:cSld>
  <p:clrMapOvr>
    <a:masterClrMapping/>
  </p:clrMapOvr>
  <mc:AlternateContent xmlns:mc="http://schemas.openxmlformats.org/markup-compatibility/2006" xmlns:p14="http://schemas.microsoft.com/office/powerpoint/2010/main">
    <mc:Choice Requires="p14">
      <p:transition spd="slow" p14:dur="1250" advClick="0" advTm="3949">
        <p14:flip dir="r"/>
      </p:transition>
    </mc:Choice>
    <mc:Fallback xmlns="">
      <p:transition spd="slow" advClick="0" advTm="3949">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876A47B8-9847-4BE0-AEC6-33B968BD44F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1587946"/>
            <a:ext cx="6292276" cy="4026447"/>
          </a:xfrm>
          <a:prstGeom prst="rect">
            <a:avLst/>
          </a:prstGeom>
        </p:spPr>
      </p:pic>
      <p:sp>
        <p:nvSpPr>
          <p:cNvPr id="2" name="矩形 1">
            <a:extLst>
              <a:ext uri="{FF2B5EF4-FFF2-40B4-BE49-F238E27FC236}">
                <a16:creationId xmlns:a16="http://schemas.microsoft.com/office/drawing/2014/main" id="{CA6B0603-6888-4665-92CA-580926EB1361}"/>
              </a:ext>
            </a:extLst>
          </p:cNvPr>
          <p:cNvSpPr/>
          <p:nvPr/>
        </p:nvSpPr>
        <p:spPr>
          <a:xfrm>
            <a:off x="3286395" y="2321004"/>
            <a:ext cx="8102041" cy="2352282"/>
          </a:xfrm>
          <a:prstGeom prst="rect">
            <a:avLst/>
          </a:prstGeom>
          <a:solidFill>
            <a:srgbClr val="E4202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文本框 2">
            <a:extLst>
              <a:ext uri="{FF2B5EF4-FFF2-40B4-BE49-F238E27FC236}">
                <a16:creationId xmlns:a16="http://schemas.microsoft.com/office/drawing/2014/main" id="{7D848554-7EF6-4967-936C-30BF198ADDB3}"/>
              </a:ext>
            </a:extLst>
          </p:cNvPr>
          <p:cNvSpPr txBox="1"/>
          <p:nvPr/>
        </p:nvSpPr>
        <p:spPr>
          <a:xfrm>
            <a:off x="3405238" y="2389149"/>
            <a:ext cx="2445249" cy="2215991"/>
          </a:xfrm>
          <a:prstGeom prst="rect">
            <a:avLst/>
          </a:prstGeom>
          <a:noFill/>
        </p:spPr>
        <p:txBody>
          <a:bodyPr wrap="square" rtlCol="0">
            <a:spAutoFit/>
          </a:bodyPr>
          <a:lstStyle/>
          <a:p>
            <a:pPr algn="ctr"/>
            <a:r>
              <a:rPr lang="en-US" altLang="zh-CN" sz="13800" dirty="0">
                <a:solidFill>
                  <a:schemeClr val="bg1"/>
                </a:solidFill>
                <a:cs typeface="+mn-ea"/>
                <a:sym typeface="+mn-lt"/>
              </a:rPr>
              <a:t>02</a:t>
            </a:r>
            <a:endParaRPr lang="zh-CN" altLang="en-US" sz="13800" dirty="0">
              <a:solidFill>
                <a:schemeClr val="bg1"/>
              </a:solidFill>
              <a:cs typeface="+mn-ea"/>
              <a:sym typeface="+mn-lt"/>
            </a:endParaRPr>
          </a:p>
        </p:txBody>
      </p:sp>
      <p:sp>
        <p:nvSpPr>
          <p:cNvPr id="4" name="文本框 3">
            <a:extLst>
              <a:ext uri="{FF2B5EF4-FFF2-40B4-BE49-F238E27FC236}">
                <a16:creationId xmlns:a16="http://schemas.microsoft.com/office/drawing/2014/main" id="{218CA210-F14E-4590-92B8-8DBAAAAC40FA}"/>
              </a:ext>
            </a:extLst>
          </p:cNvPr>
          <p:cNvSpPr txBox="1"/>
          <p:nvPr/>
        </p:nvSpPr>
        <p:spPr>
          <a:xfrm>
            <a:off x="5668033" y="2967335"/>
            <a:ext cx="4726113" cy="923330"/>
          </a:xfrm>
          <a:prstGeom prst="rect">
            <a:avLst/>
          </a:prstGeom>
          <a:noFill/>
        </p:spPr>
        <p:txBody>
          <a:bodyPr wrap="square" rtlCol="0">
            <a:spAutoFit/>
          </a:bodyPr>
          <a:lstStyle/>
          <a:p>
            <a:r>
              <a:rPr lang="zh-CN" altLang="en-US" sz="5400" dirty="0">
                <a:solidFill>
                  <a:schemeClr val="bg1"/>
                </a:solidFill>
                <a:latin typeface="黑体" panose="02010609060101010101" pitchFamily="49" charset="-122"/>
                <a:ea typeface="黑体" panose="02010609060101010101" pitchFamily="49" charset="-122"/>
                <a:cs typeface="+mn-ea"/>
                <a:sym typeface="+mn-lt"/>
              </a:rPr>
              <a:t>功能演示</a:t>
            </a:r>
          </a:p>
        </p:txBody>
      </p:sp>
    </p:spTree>
    <p:custDataLst>
      <p:tags r:id="rId1"/>
    </p:custDataLst>
    <p:extLst>
      <p:ext uri="{BB962C8B-B14F-4D97-AF65-F5344CB8AC3E}">
        <p14:creationId xmlns:p14="http://schemas.microsoft.com/office/powerpoint/2010/main" val="4280327435"/>
      </p:ext>
    </p:extLst>
  </p:cSld>
  <p:clrMapOvr>
    <a:masterClrMapping/>
  </p:clrMapOvr>
  <mc:AlternateContent xmlns:mc="http://schemas.openxmlformats.org/markup-compatibility/2006" xmlns:p14="http://schemas.microsoft.com/office/powerpoint/2010/main">
    <mc:Choice Requires="p14">
      <p:transition spd="med" p14:dur="700" advClick="0" advTm="1249">
        <p:fade/>
      </p:transition>
    </mc:Choice>
    <mc:Fallback xmlns="">
      <p:transition spd="med" advClick="0" advTm="124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331703" y="341952"/>
            <a:ext cx="2047550" cy="573804"/>
            <a:chOff x="331703" y="341952"/>
            <a:chExt cx="2047550" cy="573804"/>
          </a:xfrm>
        </p:grpSpPr>
        <p:sp>
          <p:nvSpPr>
            <p:cNvPr id="41" name="文本框 3"/>
            <p:cNvSpPr txBox="1"/>
            <p:nvPr/>
          </p:nvSpPr>
          <p:spPr>
            <a:xfrm>
              <a:off x="811644" y="341952"/>
              <a:ext cx="156760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功能演示</a:t>
              </a:r>
            </a:p>
          </p:txBody>
        </p:sp>
        <p:sp>
          <p:nvSpPr>
            <p:cNvPr id="42" name="平行四边形 41"/>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5" name="图片 4">
            <a:extLst>
              <a:ext uri="{FF2B5EF4-FFF2-40B4-BE49-F238E27FC236}">
                <a16:creationId xmlns:a16="http://schemas.microsoft.com/office/drawing/2014/main" id="{863AB5E4-9A70-C9E4-3DCA-36F43206CB03}"/>
              </a:ext>
            </a:extLst>
          </p:cNvPr>
          <p:cNvPicPr>
            <a:picLocks noChangeAspect="1"/>
          </p:cNvPicPr>
          <p:nvPr/>
        </p:nvPicPr>
        <p:blipFill>
          <a:blip r:embed="rId3"/>
          <a:stretch>
            <a:fillRect/>
          </a:stretch>
        </p:blipFill>
        <p:spPr>
          <a:xfrm>
            <a:off x="745492" y="1115767"/>
            <a:ext cx="3654649" cy="2854519"/>
          </a:xfrm>
          <a:prstGeom prst="rect">
            <a:avLst/>
          </a:prstGeom>
        </p:spPr>
      </p:pic>
      <p:sp>
        <p:nvSpPr>
          <p:cNvPr id="6" name="矩形 8">
            <a:extLst>
              <a:ext uri="{FF2B5EF4-FFF2-40B4-BE49-F238E27FC236}">
                <a16:creationId xmlns:a16="http://schemas.microsoft.com/office/drawing/2014/main" id="{EE46A569-C082-8D43-B816-418276814798}"/>
              </a:ext>
            </a:extLst>
          </p:cNvPr>
          <p:cNvSpPr/>
          <p:nvPr/>
        </p:nvSpPr>
        <p:spPr>
          <a:xfrm>
            <a:off x="4569350" y="1592846"/>
            <a:ext cx="4752955" cy="589329"/>
          </a:xfrm>
          <a:prstGeom prst="rect">
            <a:avLst/>
          </a:prstGeom>
          <a:effectLst/>
        </p:spPr>
        <p:txBody>
          <a:bodyPr wrap="square" lIns="86868" tIns="43434" rIns="86868" bIns="43434">
            <a:spAutoFit/>
          </a:bodyPr>
          <a:lstStyle/>
          <a:p>
            <a:pPr>
              <a:lnSpc>
                <a:spcPct val="125000"/>
              </a:lnSpc>
              <a:defRPr/>
            </a:pPr>
            <a:r>
              <a:rPr lang="zh-CN" altLang="en-US" sz="1400" dirty="0">
                <a:solidFill>
                  <a:schemeClr val="tx1">
                    <a:lumMod val="75000"/>
                    <a:lumOff val="25000"/>
                  </a:schemeClr>
                </a:solidFill>
                <a:latin typeface="黑体" panose="02010609060101010101" pitchFamily="49" charset="-122"/>
                <a:ea typeface="黑体" panose="02010609060101010101" pitchFamily="49" charset="-122"/>
              </a:rPr>
              <a:t>输入账号密码，进行登录，提交到服务器获取用户角色及功能权限，亦可使用手机号登录</a:t>
            </a:r>
          </a:p>
        </p:txBody>
      </p:sp>
      <p:sp>
        <p:nvSpPr>
          <p:cNvPr id="43" name="矩形 16">
            <a:extLst>
              <a:ext uri="{FF2B5EF4-FFF2-40B4-BE49-F238E27FC236}">
                <a16:creationId xmlns:a16="http://schemas.microsoft.com/office/drawing/2014/main" id="{A29F9AE6-299B-DCB4-6B39-5B2061A97D96}"/>
              </a:ext>
            </a:extLst>
          </p:cNvPr>
          <p:cNvSpPr/>
          <p:nvPr/>
        </p:nvSpPr>
        <p:spPr>
          <a:xfrm>
            <a:off x="4291585" y="4318327"/>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管理员页面</a:t>
            </a:r>
          </a:p>
        </p:txBody>
      </p:sp>
      <p:pic>
        <p:nvPicPr>
          <p:cNvPr id="45" name="图片 44">
            <a:extLst>
              <a:ext uri="{FF2B5EF4-FFF2-40B4-BE49-F238E27FC236}">
                <a16:creationId xmlns:a16="http://schemas.microsoft.com/office/drawing/2014/main" id="{098C0E9C-55D7-8325-B046-2871D5B8D54F}"/>
              </a:ext>
            </a:extLst>
          </p:cNvPr>
          <p:cNvPicPr>
            <a:picLocks noChangeAspect="1"/>
          </p:cNvPicPr>
          <p:nvPr/>
        </p:nvPicPr>
        <p:blipFill>
          <a:blip r:embed="rId4"/>
          <a:stretch>
            <a:fillRect/>
          </a:stretch>
        </p:blipFill>
        <p:spPr>
          <a:xfrm>
            <a:off x="5939624" y="2938713"/>
            <a:ext cx="6096000" cy="2860711"/>
          </a:xfrm>
          <a:prstGeom prst="rect">
            <a:avLst/>
          </a:prstGeom>
        </p:spPr>
      </p:pic>
      <p:sp>
        <p:nvSpPr>
          <p:cNvPr id="46" name="矩形 8">
            <a:extLst>
              <a:ext uri="{FF2B5EF4-FFF2-40B4-BE49-F238E27FC236}">
                <a16:creationId xmlns:a16="http://schemas.microsoft.com/office/drawing/2014/main" id="{2C3423D4-53D3-115C-00C0-FCC94D4A0AE5}"/>
              </a:ext>
            </a:extLst>
          </p:cNvPr>
          <p:cNvSpPr/>
          <p:nvPr/>
        </p:nvSpPr>
        <p:spPr>
          <a:xfrm>
            <a:off x="1372926" y="4712027"/>
            <a:ext cx="4455380" cy="320024"/>
          </a:xfrm>
          <a:prstGeom prst="rect">
            <a:avLst/>
          </a:prstGeom>
          <a:effectLst/>
        </p:spPr>
        <p:txBody>
          <a:bodyPr wrap="square" lIns="86868" tIns="43434" rIns="86868" bIns="43434">
            <a:spAutoFit/>
          </a:bodyPr>
          <a:lstStyle/>
          <a:p>
            <a:pPr>
              <a:lnSpc>
                <a:spcPct val="125000"/>
              </a:lnSpc>
              <a:defRPr/>
            </a:pPr>
            <a:r>
              <a:rPr lang="zh-CN" altLang="en-US" sz="1400" dirty="0">
                <a:solidFill>
                  <a:schemeClr val="tx1">
                    <a:lumMod val="75000"/>
                    <a:lumOff val="25000"/>
                  </a:schemeClr>
                </a:solidFill>
                <a:latin typeface="黑体" panose="02010609060101010101" pitchFamily="49" charset="-122"/>
                <a:ea typeface="黑体" panose="02010609060101010101" pitchFamily="49" charset="-122"/>
              </a:rPr>
              <a:t>管理员页面的功能是，管理员对商家、商品、广告管理</a:t>
            </a:r>
          </a:p>
        </p:txBody>
      </p:sp>
      <p:sp>
        <p:nvSpPr>
          <p:cNvPr id="47" name="矩形 16">
            <a:extLst>
              <a:ext uri="{FF2B5EF4-FFF2-40B4-BE49-F238E27FC236}">
                <a16:creationId xmlns:a16="http://schemas.microsoft.com/office/drawing/2014/main" id="{6934DED1-28D7-F0B8-242B-71634C56896C}"/>
              </a:ext>
            </a:extLst>
          </p:cNvPr>
          <p:cNvSpPr/>
          <p:nvPr/>
        </p:nvSpPr>
        <p:spPr>
          <a:xfrm>
            <a:off x="4642236" y="1268167"/>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后台登录页</a:t>
            </a:r>
          </a:p>
        </p:txBody>
      </p:sp>
    </p:spTree>
    <p:extLst>
      <p:ext uri="{BB962C8B-B14F-4D97-AF65-F5344CB8AC3E}">
        <p14:creationId xmlns:p14="http://schemas.microsoft.com/office/powerpoint/2010/main" val="288818612"/>
      </p:ext>
    </p:extLst>
  </p:cSld>
  <p:clrMapOvr>
    <a:masterClrMapping/>
  </p:clrMapOvr>
  <mc:AlternateContent xmlns:mc="http://schemas.openxmlformats.org/markup-compatibility/2006" xmlns:p14="http://schemas.microsoft.com/office/powerpoint/2010/main">
    <mc:Choice Requires="p14">
      <p:transition p14:dur="100" advTm="1616">
        <p:cut/>
      </p:transition>
    </mc:Choice>
    <mc:Fallback xmlns="">
      <p:transition advTm="1616">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331703" y="341952"/>
            <a:ext cx="2047550" cy="573804"/>
            <a:chOff x="331703" y="341952"/>
            <a:chExt cx="2047550" cy="573804"/>
          </a:xfrm>
        </p:grpSpPr>
        <p:sp>
          <p:nvSpPr>
            <p:cNvPr id="41" name="文本框 3"/>
            <p:cNvSpPr txBox="1"/>
            <p:nvPr/>
          </p:nvSpPr>
          <p:spPr>
            <a:xfrm>
              <a:off x="811644" y="341952"/>
              <a:ext cx="156760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功能演示</a:t>
              </a:r>
            </a:p>
          </p:txBody>
        </p:sp>
        <p:sp>
          <p:nvSpPr>
            <p:cNvPr id="42" name="平行四边形 41"/>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4" name="矩形 16">
            <a:extLst>
              <a:ext uri="{FF2B5EF4-FFF2-40B4-BE49-F238E27FC236}">
                <a16:creationId xmlns:a16="http://schemas.microsoft.com/office/drawing/2014/main" id="{3EAAF2D8-E09E-44FE-E6B8-774D7516DE92}"/>
              </a:ext>
            </a:extLst>
          </p:cNvPr>
          <p:cNvSpPr/>
          <p:nvPr/>
        </p:nvSpPr>
        <p:spPr>
          <a:xfrm>
            <a:off x="1065280" y="1249988"/>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管理员页面</a:t>
            </a:r>
          </a:p>
        </p:txBody>
      </p:sp>
      <p:sp>
        <p:nvSpPr>
          <p:cNvPr id="7" name="矩形 8">
            <a:extLst>
              <a:ext uri="{FF2B5EF4-FFF2-40B4-BE49-F238E27FC236}">
                <a16:creationId xmlns:a16="http://schemas.microsoft.com/office/drawing/2014/main" id="{9DF0476D-1683-AD6F-8858-868D0C2BDC3B}"/>
              </a:ext>
            </a:extLst>
          </p:cNvPr>
          <p:cNvSpPr/>
          <p:nvPr/>
        </p:nvSpPr>
        <p:spPr>
          <a:xfrm>
            <a:off x="1144989" y="1713113"/>
            <a:ext cx="4455380" cy="320024"/>
          </a:xfrm>
          <a:prstGeom prst="rect">
            <a:avLst/>
          </a:prstGeom>
          <a:effectLst/>
        </p:spPr>
        <p:txBody>
          <a:bodyPr wrap="square" lIns="86868" tIns="43434" rIns="86868" bIns="43434">
            <a:spAutoFit/>
          </a:bodyPr>
          <a:lstStyle/>
          <a:p>
            <a:pPr>
              <a:lnSpc>
                <a:spcPct val="125000"/>
              </a:lnSpc>
              <a:defRPr/>
            </a:pPr>
            <a:r>
              <a:rPr lang="zh-CN" altLang="en-US" sz="1400" dirty="0">
                <a:solidFill>
                  <a:schemeClr val="tx1">
                    <a:lumMod val="75000"/>
                    <a:lumOff val="25000"/>
                  </a:schemeClr>
                </a:solidFill>
                <a:latin typeface="黑体" panose="02010609060101010101" pitchFamily="49" charset="-122"/>
                <a:ea typeface="黑体" panose="02010609060101010101" pitchFamily="49" charset="-122"/>
              </a:rPr>
              <a:t>后台管理员对广告的管理页面</a:t>
            </a:r>
          </a:p>
        </p:txBody>
      </p:sp>
      <p:pic>
        <p:nvPicPr>
          <p:cNvPr id="9" name="图片 8">
            <a:extLst>
              <a:ext uri="{FF2B5EF4-FFF2-40B4-BE49-F238E27FC236}">
                <a16:creationId xmlns:a16="http://schemas.microsoft.com/office/drawing/2014/main" id="{1511A9A3-9586-8255-84E5-145A127670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1643" y="2448879"/>
            <a:ext cx="9445539" cy="3394550"/>
          </a:xfrm>
          <a:prstGeom prst="rect">
            <a:avLst/>
          </a:prstGeom>
        </p:spPr>
      </p:pic>
    </p:spTree>
    <p:extLst>
      <p:ext uri="{BB962C8B-B14F-4D97-AF65-F5344CB8AC3E}">
        <p14:creationId xmlns:p14="http://schemas.microsoft.com/office/powerpoint/2010/main" val="1304327636"/>
      </p:ext>
    </p:extLst>
  </p:cSld>
  <p:clrMapOvr>
    <a:masterClrMapping/>
  </p:clrMapOvr>
  <mc:AlternateContent xmlns:mc="http://schemas.openxmlformats.org/markup-compatibility/2006" xmlns:p14="http://schemas.microsoft.com/office/powerpoint/2010/main">
    <mc:Choice Requires="p14">
      <p:transition p14:dur="100" advTm="1616">
        <p:cut/>
      </p:transition>
    </mc:Choice>
    <mc:Fallback xmlns="">
      <p:transition advTm="1616">
        <p:cu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组合 27"/>
          <p:cNvGrpSpPr/>
          <p:nvPr/>
        </p:nvGrpSpPr>
        <p:grpSpPr>
          <a:xfrm>
            <a:off x="331703" y="341952"/>
            <a:ext cx="2047550" cy="573804"/>
            <a:chOff x="331703" y="341952"/>
            <a:chExt cx="2047550" cy="573804"/>
          </a:xfrm>
        </p:grpSpPr>
        <p:sp>
          <p:nvSpPr>
            <p:cNvPr id="30" name="文本框 3"/>
            <p:cNvSpPr txBox="1"/>
            <p:nvPr/>
          </p:nvSpPr>
          <p:spPr>
            <a:xfrm>
              <a:off x="811644" y="341952"/>
              <a:ext cx="1567609" cy="496546"/>
            </a:xfrm>
            <a:prstGeom prst="rect">
              <a:avLst/>
            </a:prstGeom>
            <a:noFill/>
          </p:spPr>
          <p:txBody>
            <a:bodyPr wrap="none" lIns="65024" tIns="32512" rIns="65024" bIns="32512" rtlCol="0">
              <a:spAutoFit/>
            </a:bodyPr>
            <a:lst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zh-CN" altLang="en-US" sz="2800" dirty="0">
                  <a:solidFill>
                    <a:srgbClr val="7F7F7F"/>
                  </a:solidFill>
                  <a:latin typeface="黑体" panose="02010609060101010101" pitchFamily="49" charset="-122"/>
                  <a:ea typeface="黑体" panose="02010609060101010101" pitchFamily="49" charset="-122"/>
                  <a:cs typeface="+mn-ea"/>
                  <a:sym typeface="+mn-lt"/>
                </a:rPr>
                <a:t>功能演示</a:t>
              </a:r>
            </a:p>
          </p:txBody>
        </p:sp>
        <p:sp>
          <p:nvSpPr>
            <p:cNvPr id="31" name="平行四边形 30"/>
            <p:cNvSpPr/>
            <p:nvPr/>
          </p:nvSpPr>
          <p:spPr>
            <a:xfrm>
              <a:off x="331703" y="444010"/>
              <a:ext cx="413789" cy="471746"/>
            </a:xfrm>
            <a:prstGeom prst="parallelogram">
              <a:avLst/>
            </a:prstGeom>
            <a:solidFill>
              <a:srgbClr val="E4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3" name="图片 2">
            <a:extLst>
              <a:ext uri="{FF2B5EF4-FFF2-40B4-BE49-F238E27FC236}">
                <a16:creationId xmlns:a16="http://schemas.microsoft.com/office/drawing/2014/main" id="{9259822E-7043-64BE-4BE5-D1AD09D3C728}"/>
              </a:ext>
            </a:extLst>
          </p:cNvPr>
          <p:cNvPicPr>
            <a:picLocks noChangeAspect="1"/>
          </p:cNvPicPr>
          <p:nvPr/>
        </p:nvPicPr>
        <p:blipFill>
          <a:blip r:embed="rId3"/>
          <a:stretch>
            <a:fillRect/>
          </a:stretch>
        </p:blipFill>
        <p:spPr>
          <a:xfrm>
            <a:off x="538597" y="1014901"/>
            <a:ext cx="4409084" cy="2252208"/>
          </a:xfrm>
          <a:prstGeom prst="rect">
            <a:avLst/>
          </a:prstGeom>
        </p:spPr>
      </p:pic>
      <p:sp>
        <p:nvSpPr>
          <p:cNvPr id="32" name="矩形 8">
            <a:extLst>
              <a:ext uri="{FF2B5EF4-FFF2-40B4-BE49-F238E27FC236}">
                <a16:creationId xmlns:a16="http://schemas.microsoft.com/office/drawing/2014/main" id="{4730679A-E764-6025-F1B2-8695854935B4}"/>
              </a:ext>
            </a:extLst>
          </p:cNvPr>
          <p:cNvSpPr/>
          <p:nvPr/>
        </p:nvSpPr>
        <p:spPr>
          <a:xfrm>
            <a:off x="5013115" y="1669946"/>
            <a:ext cx="4752955" cy="589329"/>
          </a:xfrm>
          <a:prstGeom prst="rect">
            <a:avLst/>
          </a:prstGeom>
          <a:effectLst/>
        </p:spPr>
        <p:txBody>
          <a:bodyPr wrap="square" lIns="86868" tIns="43434" rIns="86868" bIns="43434">
            <a:spAutoFit/>
          </a:bodyPr>
          <a:lstStyle/>
          <a:p>
            <a:pPr>
              <a:lnSpc>
                <a:spcPct val="125000"/>
              </a:lnSpc>
              <a:defRPr/>
            </a:pPr>
            <a:r>
              <a:rPr lang="zh-CN" altLang="en-US" sz="1400" dirty="0">
                <a:solidFill>
                  <a:schemeClr val="tx1">
                    <a:lumMod val="75000"/>
                    <a:lumOff val="25000"/>
                  </a:schemeClr>
                </a:solidFill>
                <a:latin typeface="黑体" panose="02010609060101010101" pitchFamily="49" charset="-122"/>
                <a:ea typeface="黑体" panose="02010609060101010101" pitchFamily="49" charset="-122"/>
              </a:rPr>
              <a:t>商家可以从页面获取订单数、转化率、新用户注册</a:t>
            </a:r>
            <a:endParaRPr lang="en-US" altLang="zh-CN" sz="1400" dirty="0">
              <a:solidFill>
                <a:schemeClr val="tx1">
                  <a:lumMod val="75000"/>
                  <a:lumOff val="25000"/>
                </a:schemeClr>
              </a:solidFill>
              <a:latin typeface="黑体" panose="02010609060101010101" pitchFamily="49" charset="-122"/>
              <a:ea typeface="黑体" panose="02010609060101010101" pitchFamily="49" charset="-122"/>
            </a:endParaRPr>
          </a:p>
          <a:p>
            <a:pPr>
              <a:lnSpc>
                <a:spcPct val="125000"/>
              </a:lnSpc>
              <a:defRPr/>
            </a:pPr>
            <a:r>
              <a:rPr lang="zh-CN" altLang="en-US" sz="1400" dirty="0">
                <a:solidFill>
                  <a:schemeClr val="tx1">
                    <a:lumMod val="75000"/>
                    <a:lumOff val="25000"/>
                  </a:schemeClr>
                </a:solidFill>
                <a:latin typeface="黑体" panose="02010609060101010101" pitchFamily="49" charset="-122"/>
                <a:ea typeface="黑体" panose="02010609060101010101" pitchFamily="49" charset="-122"/>
              </a:rPr>
              <a:t>上架、下架、修改商品的商品管理功能</a:t>
            </a:r>
          </a:p>
        </p:txBody>
      </p:sp>
      <p:sp>
        <p:nvSpPr>
          <p:cNvPr id="33" name="矩形 16">
            <a:extLst>
              <a:ext uri="{FF2B5EF4-FFF2-40B4-BE49-F238E27FC236}">
                <a16:creationId xmlns:a16="http://schemas.microsoft.com/office/drawing/2014/main" id="{CAD42D5B-2958-0BD8-C25D-4F0B0A54F2B3}"/>
              </a:ext>
            </a:extLst>
          </p:cNvPr>
          <p:cNvSpPr/>
          <p:nvPr/>
        </p:nvSpPr>
        <p:spPr>
          <a:xfrm>
            <a:off x="5013115" y="1176793"/>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商家管理页面</a:t>
            </a:r>
          </a:p>
        </p:txBody>
      </p:sp>
      <p:pic>
        <p:nvPicPr>
          <p:cNvPr id="35" name="图片 34">
            <a:extLst>
              <a:ext uri="{FF2B5EF4-FFF2-40B4-BE49-F238E27FC236}">
                <a16:creationId xmlns:a16="http://schemas.microsoft.com/office/drawing/2014/main" id="{486BCF4A-5CB2-DA42-4711-3E10958119FF}"/>
              </a:ext>
            </a:extLst>
          </p:cNvPr>
          <p:cNvPicPr>
            <a:picLocks noChangeAspect="1"/>
          </p:cNvPicPr>
          <p:nvPr/>
        </p:nvPicPr>
        <p:blipFill>
          <a:blip r:embed="rId4"/>
          <a:stretch>
            <a:fillRect/>
          </a:stretch>
        </p:blipFill>
        <p:spPr>
          <a:xfrm>
            <a:off x="4896601" y="2748776"/>
            <a:ext cx="6660645" cy="3333971"/>
          </a:xfrm>
          <a:prstGeom prst="rect">
            <a:avLst/>
          </a:prstGeom>
        </p:spPr>
      </p:pic>
      <p:sp>
        <p:nvSpPr>
          <p:cNvPr id="36" name="矩形 8">
            <a:extLst>
              <a:ext uri="{FF2B5EF4-FFF2-40B4-BE49-F238E27FC236}">
                <a16:creationId xmlns:a16="http://schemas.microsoft.com/office/drawing/2014/main" id="{029666E2-B9C1-43C3-69E6-786648C9E0EA}"/>
              </a:ext>
            </a:extLst>
          </p:cNvPr>
          <p:cNvSpPr/>
          <p:nvPr/>
        </p:nvSpPr>
        <p:spPr>
          <a:xfrm>
            <a:off x="3127331" y="3816563"/>
            <a:ext cx="2658569" cy="353174"/>
          </a:xfrm>
          <a:prstGeom prst="rect">
            <a:avLst/>
          </a:prstGeom>
          <a:effectLst/>
        </p:spPr>
        <p:txBody>
          <a:bodyPr wrap="square" lIns="86868" tIns="43434" rIns="86868" bIns="43434">
            <a:spAutoFit/>
          </a:bodyPr>
          <a:lstStyle/>
          <a:p>
            <a:pPr>
              <a:lnSpc>
                <a:spcPct val="125000"/>
              </a:lnSpc>
              <a:defRPr/>
            </a:pPr>
            <a:r>
              <a:rPr lang="zh-CN" altLang="en-US" sz="1600" dirty="0">
                <a:solidFill>
                  <a:schemeClr val="tx1">
                    <a:lumMod val="75000"/>
                    <a:lumOff val="25000"/>
                  </a:schemeClr>
                </a:solidFill>
                <a:latin typeface="黑体" panose="02010609060101010101" pitchFamily="49" charset="-122"/>
                <a:ea typeface="黑体" panose="02010609060101010101" pitchFamily="49" charset="-122"/>
              </a:rPr>
              <a:t>商家新增商品页面</a:t>
            </a:r>
          </a:p>
        </p:txBody>
      </p:sp>
      <p:sp>
        <p:nvSpPr>
          <p:cNvPr id="37" name="矩形 16">
            <a:extLst>
              <a:ext uri="{FF2B5EF4-FFF2-40B4-BE49-F238E27FC236}">
                <a16:creationId xmlns:a16="http://schemas.microsoft.com/office/drawing/2014/main" id="{C2709AB3-4424-42E7-CA41-0EFF37380EB4}"/>
              </a:ext>
            </a:extLst>
          </p:cNvPr>
          <p:cNvSpPr/>
          <p:nvPr/>
        </p:nvSpPr>
        <p:spPr>
          <a:xfrm>
            <a:off x="2803978" y="3367023"/>
            <a:ext cx="5030720" cy="393700"/>
          </a:xfrm>
          <a:prstGeom prst="rect">
            <a:avLst/>
          </a:prstGeom>
          <a:noFill/>
          <a:effectLst/>
        </p:spPr>
        <p:txBody>
          <a:bodyPr wrap="square" lIns="86868" tIns="43434" rIns="86868" bIns="43434">
            <a:spAutoFit/>
          </a:bodyPr>
          <a:lstStyle/>
          <a:p>
            <a:pPr marL="0" marR="0" lvl="0" indent="0" defTabSz="914400" rtl="0" eaLnBrk="1" fontAlgn="auto" latinLnBrk="0" hangingPunct="1">
              <a:lnSpc>
                <a:spcPct val="100000"/>
              </a:lnSpc>
              <a:spcBef>
                <a:spcPts val="0"/>
              </a:spcBef>
              <a:buClrTx/>
              <a:buSzTx/>
              <a:buFontTx/>
              <a:buNone/>
              <a:defRPr/>
            </a:pPr>
            <a:r>
              <a:rPr kumimoji="0" lang="zh-CN" altLang="en-US" sz="2000" b="1" i="0" u="none" strike="noStrike" kern="1200" cap="none" spc="0" normalizeH="0" baseline="0" noProof="0" dirty="0">
                <a:ln>
                  <a:noFill/>
                </a:ln>
                <a:solidFill>
                  <a:schemeClr val="accent1"/>
                </a:solidFill>
                <a:effectLst/>
                <a:uLnTx/>
                <a:uFillTx/>
                <a:latin typeface="黑体" panose="02010609060101010101" pitchFamily="49" charset="-122"/>
                <a:ea typeface="黑体" panose="02010609060101010101" pitchFamily="49" charset="-122"/>
              </a:rPr>
              <a:t>商家管理页面</a:t>
            </a:r>
          </a:p>
        </p:txBody>
      </p:sp>
    </p:spTree>
    <p:extLst>
      <p:ext uri="{BB962C8B-B14F-4D97-AF65-F5344CB8AC3E}">
        <p14:creationId xmlns:p14="http://schemas.microsoft.com/office/powerpoint/2010/main" val="2316164428"/>
      </p:ext>
    </p:extLst>
  </p:cSld>
  <p:clrMapOvr>
    <a:masterClrMapping/>
  </p:clrMapOvr>
  <p:transition spd="slow" advClick="0" advTm="1907">
    <p:comb/>
  </p:transition>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c45b5f02-c5cc-4e1d-9e40-8ed20dd6ac72"/>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IMING" val="|3.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IMING" val="|0.7"/>
</p:tagLst>
</file>

<file path=ppt/tags/tag6.xml><?xml version="1.0" encoding="utf-8"?>
<p:tagLst xmlns:a="http://schemas.openxmlformats.org/drawingml/2006/main" xmlns:r="http://schemas.openxmlformats.org/officeDocument/2006/relationships" xmlns:p="http://schemas.openxmlformats.org/presentationml/2006/main">
  <p:tag name="TIMING" val="|1.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fontScheme name="c032ky2c">
      <a:majorFont>
        <a:latin typeface="字魂59号-创粗黑"/>
        <a:ea typeface="字魂59号-创粗黑"/>
        <a:cs typeface=""/>
      </a:majorFont>
      <a:minorFont>
        <a:latin typeface="字魂59号-创粗黑"/>
        <a:ea typeface="字魂59号-创粗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81</TotalTime>
  <Words>707</Words>
  <Application>Microsoft Office PowerPoint</Application>
  <PresentationFormat>宽屏</PresentationFormat>
  <Paragraphs>81</Paragraphs>
  <Slides>17</Slides>
  <Notes>17</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7</vt:i4>
      </vt:variant>
    </vt:vector>
  </HeadingPairs>
  <TitlesOfParts>
    <vt:vector size="24" baseType="lpstr">
      <vt:lpstr>Arial</vt:lpstr>
      <vt:lpstr>Calibri</vt:lpstr>
      <vt:lpstr>黑体</vt:lpstr>
      <vt:lpstr>等线</vt:lpstr>
      <vt:lpstr>字魂59号-创粗黑</vt:lpstr>
      <vt:lpstr>主题5</vt:lpstr>
      <vt:lpstr>think-cell Slide</vt:lpstr>
      <vt:lpstr>品优购--运营商后台</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谢观看</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独成空 醉影</cp:lastModifiedBy>
  <cp:revision>38</cp:revision>
  <cp:lastPrinted>2019-05-23T16:00:00Z</cp:lastPrinted>
  <dcterms:created xsi:type="dcterms:W3CDTF">2019-05-23T16:00:00Z</dcterms:created>
  <dcterms:modified xsi:type="dcterms:W3CDTF">2024-06-28T00:4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